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8"/>
  </p:notesMasterIdLst>
  <p:sldIdLst>
    <p:sldId id="311" r:id="rId2"/>
    <p:sldId id="434" r:id="rId3"/>
    <p:sldId id="425" r:id="rId4"/>
    <p:sldId id="420" r:id="rId5"/>
    <p:sldId id="421" r:id="rId6"/>
    <p:sldId id="422" r:id="rId7"/>
    <p:sldId id="423" r:id="rId8"/>
    <p:sldId id="405" r:id="rId9"/>
    <p:sldId id="441" r:id="rId10"/>
    <p:sldId id="416" r:id="rId11"/>
    <p:sldId id="443" r:id="rId12"/>
    <p:sldId id="435" r:id="rId13"/>
    <p:sldId id="436" r:id="rId14"/>
    <p:sldId id="437" r:id="rId15"/>
    <p:sldId id="438" r:id="rId16"/>
    <p:sldId id="439" r:id="rId17"/>
    <p:sldId id="444" r:id="rId18"/>
    <p:sldId id="445" r:id="rId19"/>
    <p:sldId id="446" r:id="rId20"/>
    <p:sldId id="447" r:id="rId21"/>
    <p:sldId id="448" r:id="rId22"/>
    <p:sldId id="449" r:id="rId23"/>
    <p:sldId id="450" r:id="rId24"/>
    <p:sldId id="451" r:id="rId25"/>
    <p:sldId id="452" r:id="rId26"/>
    <p:sldId id="442" r:id="rId27"/>
  </p:sldIdLst>
  <p:sldSz cx="12192000" cy="6858000"/>
  <p:notesSz cx="6858000" cy="9144000"/>
  <p:custDataLst>
    <p:tags r:id="rId2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ADE"/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C157C9-6F82-E249-9846-58DA70C8FB22}" v="73" dt="2024-09-20T09:04:57.393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76"/>
    <p:restoredTop sz="84488"/>
  </p:normalViewPr>
  <p:slideViewPr>
    <p:cSldViewPr snapToGrid="0">
      <p:cViewPr varScale="1">
        <p:scale>
          <a:sx n="162" d="100"/>
          <a:sy n="162" d="100"/>
        </p:scale>
        <p:origin x="984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o Bethke" userId="0ace9986-83c7-40d8-aadc-a8d8d7c841c6" providerId="ADAL" clId="{C1C157C9-6F82-E249-9846-58DA70C8FB22}"/>
    <pc:docChg chg="undo custSel addSld delSld modSld sldOrd">
      <pc:chgData name="Ingo Bethke" userId="0ace9986-83c7-40d8-aadc-a8d8d7c841c6" providerId="ADAL" clId="{C1C157C9-6F82-E249-9846-58DA70C8FB22}" dt="2024-09-20T09:11:05.203" v="5121" actId="20577"/>
      <pc:docMkLst>
        <pc:docMk/>
      </pc:docMkLst>
      <pc:sldChg chg="modSp mod">
        <pc:chgData name="Ingo Bethke" userId="0ace9986-83c7-40d8-aadc-a8d8d7c841c6" providerId="ADAL" clId="{C1C157C9-6F82-E249-9846-58DA70C8FB22}" dt="2024-09-20T09:11:05.203" v="5121" actId="20577"/>
        <pc:sldMkLst>
          <pc:docMk/>
          <pc:sldMk cId="2231084329" sldId="311"/>
        </pc:sldMkLst>
        <pc:spChg chg="mod">
          <ac:chgData name="Ingo Bethke" userId="0ace9986-83c7-40d8-aadc-a8d8d7c841c6" providerId="ADAL" clId="{C1C157C9-6F82-E249-9846-58DA70C8FB22}" dt="2024-09-17T10:38:50.746" v="1410" actId="20577"/>
          <ac:spMkLst>
            <pc:docMk/>
            <pc:sldMk cId="2231084329" sldId="311"/>
            <ac:spMk id="2" creationId="{00000000-0000-0000-0000-000000000000}"/>
          </ac:spMkLst>
        </pc:spChg>
        <pc:spChg chg="mod">
          <ac:chgData name="Ingo Bethke" userId="0ace9986-83c7-40d8-aadc-a8d8d7c841c6" providerId="ADAL" clId="{C1C157C9-6F82-E249-9846-58DA70C8FB22}" dt="2024-09-20T09:11:05.203" v="5121" actId="20577"/>
          <ac:spMkLst>
            <pc:docMk/>
            <pc:sldMk cId="2231084329" sldId="311"/>
            <ac:spMk id="4" creationId="{00000000-0000-0000-0000-000000000000}"/>
          </ac:spMkLst>
        </pc:spChg>
      </pc:sldChg>
      <pc:sldChg chg="modSp mod">
        <pc:chgData name="Ingo Bethke" userId="0ace9986-83c7-40d8-aadc-a8d8d7c841c6" providerId="ADAL" clId="{C1C157C9-6F82-E249-9846-58DA70C8FB22}" dt="2024-09-17T10:35:27.937" v="1352" actId="20577"/>
        <pc:sldMkLst>
          <pc:docMk/>
          <pc:sldMk cId="3308765497" sldId="405"/>
        </pc:sldMkLst>
        <pc:spChg chg="mod">
          <ac:chgData name="Ingo Bethke" userId="0ace9986-83c7-40d8-aadc-a8d8d7c841c6" providerId="ADAL" clId="{C1C157C9-6F82-E249-9846-58DA70C8FB22}" dt="2024-09-17T10:35:27.937" v="1352" actId="20577"/>
          <ac:spMkLst>
            <pc:docMk/>
            <pc:sldMk cId="3308765497" sldId="405"/>
            <ac:spMk id="2" creationId="{7F420939-91E1-E573-F0BD-AD2B47A07E8B}"/>
          </ac:spMkLst>
        </pc:spChg>
      </pc:sldChg>
      <pc:sldChg chg="addSp delSp modSp mod">
        <pc:chgData name="Ingo Bethke" userId="0ace9986-83c7-40d8-aadc-a8d8d7c841c6" providerId="ADAL" clId="{C1C157C9-6F82-E249-9846-58DA70C8FB22}" dt="2024-09-17T10:37:25.642" v="1393" actId="20577"/>
        <pc:sldMkLst>
          <pc:docMk/>
          <pc:sldMk cId="427209922" sldId="416"/>
        </pc:sldMkLst>
        <pc:spChg chg="mod">
          <ac:chgData name="Ingo Bethke" userId="0ace9986-83c7-40d8-aadc-a8d8d7c841c6" providerId="ADAL" clId="{C1C157C9-6F82-E249-9846-58DA70C8FB22}" dt="2024-09-17T10:37:25.642" v="1393" actId="20577"/>
          <ac:spMkLst>
            <pc:docMk/>
            <pc:sldMk cId="427209922" sldId="416"/>
            <ac:spMk id="2" creationId="{7F420939-91E1-E573-F0BD-AD2B47A07E8B}"/>
          </ac:spMkLst>
        </pc:spChg>
        <pc:spChg chg="add del">
          <ac:chgData name="Ingo Bethke" userId="0ace9986-83c7-40d8-aadc-a8d8d7c841c6" providerId="ADAL" clId="{C1C157C9-6F82-E249-9846-58DA70C8FB22}" dt="2024-09-17T08:58:26.135" v="771" actId="478"/>
          <ac:spMkLst>
            <pc:docMk/>
            <pc:sldMk cId="427209922" sldId="416"/>
            <ac:spMk id="5" creationId="{401E7156-5D76-D08F-1E7B-C5BE269A4CD4}"/>
          </ac:spMkLst>
        </pc:spChg>
      </pc:sldChg>
      <pc:sldChg chg="modSp mod">
        <pc:chgData name="Ingo Bethke" userId="0ace9986-83c7-40d8-aadc-a8d8d7c841c6" providerId="ADAL" clId="{C1C157C9-6F82-E249-9846-58DA70C8FB22}" dt="2024-09-17T13:14:28.135" v="2562" actId="1037"/>
        <pc:sldMkLst>
          <pc:docMk/>
          <pc:sldMk cId="1628392479" sldId="425"/>
        </pc:sldMkLst>
        <pc:spChg chg="mod">
          <ac:chgData name="Ingo Bethke" userId="0ace9986-83c7-40d8-aadc-a8d8d7c841c6" providerId="ADAL" clId="{C1C157C9-6F82-E249-9846-58DA70C8FB22}" dt="2024-09-17T13:14:28.135" v="2562" actId="1037"/>
          <ac:spMkLst>
            <pc:docMk/>
            <pc:sldMk cId="1628392479" sldId="425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17T10:40:55.110" v="1411" actId="255"/>
          <ac:spMkLst>
            <pc:docMk/>
            <pc:sldMk cId="1628392479" sldId="425"/>
            <ac:spMk id="7" creationId="{85275E20-790A-58A5-0A7A-59DEF3041FD4}"/>
          </ac:spMkLst>
        </pc:spChg>
      </pc:sldChg>
      <pc:sldChg chg="addSp modSp mod">
        <pc:chgData name="Ingo Bethke" userId="0ace9986-83c7-40d8-aadc-a8d8d7c841c6" providerId="ADAL" clId="{C1C157C9-6F82-E249-9846-58DA70C8FB22}" dt="2024-09-18T17:48:09.698" v="3653" actId="1076"/>
        <pc:sldMkLst>
          <pc:docMk/>
          <pc:sldMk cId="1822871216" sldId="434"/>
        </pc:sldMkLst>
        <pc:spChg chg="mod">
          <ac:chgData name="Ingo Bethke" userId="0ace9986-83c7-40d8-aadc-a8d8d7c841c6" providerId="ADAL" clId="{C1C157C9-6F82-E249-9846-58DA70C8FB22}" dt="2024-09-18T17:45:57.208" v="3617" actId="20577"/>
          <ac:spMkLst>
            <pc:docMk/>
            <pc:sldMk cId="1822871216" sldId="434"/>
            <ac:spMk id="5" creationId="{A65A12A4-43BC-42B1-1A0E-56D7609F4C92}"/>
          </ac:spMkLst>
        </pc:spChg>
        <pc:spChg chg="add mod">
          <ac:chgData name="Ingo Bethke" userId="0ace9986-83c7-40d8-aadc-a8d8d7c841c6" providerId="ADAL" clId="{C1C157C9-6F82-E249-9846-58DA70C8FB22}" dt="2024-09-18T17:47:02.490" v="3651" actId="1037"/>
          <ac:spMkLst>
            <pc:docMk/>
            <pc:sldMk cId="1822871216" sldId="434"/>
            <ac:spMk id="7" creationId="{16527C71-0E6B-EDBC-1CE5-CFB4E27EBE88}"/>
          </ac:spMkLst>
        </pc:spChg>
        <pc:spChg chg="mod">
          <ac:chgData name="Ingo Bethke" userId="0ace9986-83c7-40d8-aadc-a8d8d7c841c6" providerId="ADAL" clId="{C1C157C9-6F82-E249-9846-58DA70C8FB22}" dt="2024-09-18T17:48:09.698" v="3653" actId="1076"/>
          <ac:spMkLst>
            <pc:docMk/>
            <pc:sldMk cId="1822871216" sldId="434"/>
            <ac:spMk id="11" creationId="{B5FE17A4-9C5A-679E-C2B9-E23B0E95979D}"/>
          </ac:spMkLst>
        </pc:spChg>
      </pc:sldChg>
      <pc:sldChg chg="delSp mod">
        <pc:chgData name="Ingo Bethke" userId="0ace9986-83c7-40d8-aadc-a8d8d7c841c6" providerId="ADAL" clId="{C1C157C9-6F82-E249-9846-58DA70C8FB22}" dt="2024-09-17T08:57:50.314" v="763" actId="478"/>
        <pc:sldMkLst>
          <pc:docMk/>
          <pc:sldMk cId="2083810965" sldId="435"/>
        </pc:sldMkLst>
        <pc:spChg chg="del">
          <ac:chgData name="Ingo Bethke" userId="0ace9986-83c7-40d8-aadc-a8d8d7c841c6" providerId="ADAL" clId="{C1C157C9-6F82-E249-9846-58DA70C8FB22}" dt="2024-09-17T08:57:50.314" v="763" actId="478"/>
          <ac:spMkLst>
            <pc:docMk/>
            <pc:sldMk cId="2083810965" sldId="435"/>
            <ac:spMk id="5" creationId="{401E7156-5D76-D08F-1E7B-C5BE269A4CD4}"/>
          </ac:spMkLst>
        </pc:spChg>
      </pc:sldChg>
      <pc:sldChg chg="delSp mod">
        <pc:chgData name="Ingo Bethke" userId="0ace9986-83c7-40d8-aadc-a8d8d7c841c6" providerId="ADAL" clId="{C1C157C9-6F82-E249-9846-58DA70C8FB22}" dt="2024-09-17T08:57:54.731" v="764" actId="478"/>
        <pc:sldMkLst>
          <pc:docMk/>
          <pc:sldMk cId="1902660188" sldId="436"/>
        </pc:sldMkLst>
        <pc:spChg chg="del">
          <ac:chgData name="Ingo Bethke" userId="0ace9986-83c7-40d8-aadc-a8d8d7c841c6" providerId="ADAL" clId="{C1C157C9-6F82-E249-9846-58DA70C8FB22}" dt="2024-09-17T08:57:54.731" v="764" actId="478"/>
          <ac:spMkLst>
            <pc:docMk/>
            <pc:sldMk cId="1902660188" sldId="436"/>
            <ac:spMk id="5" creationId="{401E7156-5D76-D08F-1E7B-C5BE269A4CD4}"/>
          </ac:spMkLst>
        </pc:spChg>
      </pc:sldChg>
      <pc:sldChg chg="delSp modSp mod">
        <pc:chgData name="Ingo Bethke" userId="0ace9986-83c7-40d8-aadc-a8d8d7c841c6" providerId="ADAL" clId="{C1C157C9-6F82-E249-9846-58DA70C8FB22}" dt="2024-09-17T08:58:00.193" v="767" actId="1035"/>
        <pc:sldMkLst>
          <pc:docMk/>
          <pc:sldMk cId="537671957" sldId="437"/>
        </pc:sldMkLst>
        <pc:spChg chg="mod">
          <ac:chgData name="Ingo Bethke" userId="0ace9986-83c7-40d8-aadc-a8d8d7c841c6" providerId="ADAL" clId="{C1C157C9-6F82-E249-9846-58DA70C8FB22}" dt="2024-09-17T08:58:00.193" v="767" actId="1035"/>
          <ac:spMkLst>
            <pc:docMk/>
            <pc:sldMk cId="537671957" sldId="437"/>
            <ac:spMk id="3" creationId="{E924D2CF-D65B-2043-E142-255DC1C37D77}"/>
          </ac:spMkLst>
        </pc:spChg>
        <pc:spChg chg="del">
          <ac:chgData name="Ingo Bethke" userId="0ace9986-83c7-40d8-aadc-a8d8d7c841c6" providerId="ADAL" clId="{C1C157C9-6F82-E249-9846-58DA70C8FB22}" dt="2024-09-17T08:57:58.291" v="765" actId="478"/>
          <ac:spMkLst>
            <pc:docMk/>
            <pc:sldMk cId="537671957" sldId="437"/>
            <ac:spMk id="5" creationId="{401E7156-5D76-D08F-1E7B-C5BE269A4CD4}"/>
          </ac:spMkLst>
        </pc:spChg>
      </pc:sldChg>
      <pc:sldChg chg="delSp mod">
        <pc:chgData name="Ingo Bethke" userId="0ace9986-83c7-40d8-aadc-a8d8d7c841c6" providerId="ADAL" clId="{C1C157C9-6F82-E249-9846-58DA70C8FB22}" dt="2024-09-17T08:58:05.229" v="768" actId="478"/>
        <pc:sldMkLst>
          <pc:docMk/>
          <pc:sldMk cId="3893507163" sldId="438"/>
        </pc:sldMkLst>
        <pc:spChg chg="del">
          <ac:chgData name="Ingo Bethke" userId="0ace9986-83c7-40d8-aadc-a8d8d7c841c6" providerId="ADAL" clId="{C1C157C9-6F82-E249-9846-58DA70C8FB22}" dt="2024-09-17T08:58:05.229" v="768" actId="478"/>
          <ac:spMkLst>
            <pc:docMk/>
            <pc:sldMk cId="3893507163" sldId="438"/>
            <ac:spMk id="5" creationId="{401E7156-5D76-D08F-1E7B-C5BE269A4CD4}"/>
          </ac:spMkLst>
        </pc:spChg>
      </pc:sldChg>
      <pc:sldChg chg="delSp mod ord">
        <pc:chgData name="Ingo Bethke" userId="0ace9986-83c7-40d8-aadc-a8d8d7c841c6" providerId="ADAL" clId="{C1C157C9-6F82-E249-9846-58DA70C8FB22}" dt="2024-09-17T10:46:44.371" v="1492" actId="20578"/>
        <pc:sldMkLst>
          <pc:docMk/>
          <pc:sldMk cId="638712783" sldId="439"/>
        </pc:sldMkLst>
        <pc:spChg chg="del">
          <ac:chgData name="Ingo Bethke" userId="0ace9986-83c7-40d8-aadc-a8d8d7c841c6" providerId="ADAL" clId="{C1C157C9-6F82-E249-9846-58DA70C8FB22}" dt="2024-09-17T08:58:09.782" v="769" actId="478"/>
          <ac:spMkLst>
            <pc:docMk/>
            <pc:sldMk cId="638712783" sldId="439"/>
            <ac:spMk id="5" creationId="{401E7156-5D76-D08F-1E7B-C5BE269A4CD4}"/>
          </ac:spMkLst>
        </pc:spChg>
      </pc:sldChg>
      <pc:sldChg chg="modSp del mod">
        <pc:chgData name="Ingo Bethke" userId="0ace9986-83c7-40d8-aadc-a8d8d7c841c6" providerId="ADAL" clId="{C1C157C9-6F82-E249-9846-58DA70C8FB22}" dt="2024-09-17T09:11:12.042" v="1339" actId="2696"/>
        <pc:sldMkLst>
          <pc:docMk/>
          <pc:sldMk cId="2988075705" sldId="440"/>
        </pc:sldMkLst>
        <pc:spChg chg="mod">
          <ac:chgData name="Ingo Bethke" userId="0ace9986-83c7-40d8-aadc-a8d8d7c841c6" providerId="ADAL" clId="{C1C157C9-6F82-E249-9846-58DA70C8FB22}" dt="2024-09-17T08:54:03.234" v="659" actId="20577"/>
          <ac:spMkLst>
            <pc:docMk/>
            <pc:sldMk cId="2988075705" sldId="440"/>
            <ac:spMk id="2" creationId="{7F420939-91E1-E573-F0BD-AD2B47A07E8B}"/>
          </ac:spMkLst>
        </pc:spChg>
        <pc:spChg chg="mod">
          <ac:chgData name="Ingo Bethke" userId="0ace9986-83c7-40d8-aadc-a8d8d7c841c6" providerId="ADAL" clId="{C1C157C9-6F82-E249-9846-58DA70C8FB22}" dt="2024-09-17T08:54:06.359" v="660" actId="20577"/>
          <ac:spMkLst>
            <pc:docMk/>
            <pc:sldMk cId="2988075705" sldId="440"/>
            <ac:spMk id="3" creationId="{E924D2CF-D65B-2043-E142-255DC1C37D77}"/>
          </ac:spMkLst>
        </pc:spChg>
      </pc:sldChg>
      <pc:sldChg chg="addSp delSp modSp mod">
        <pc:chgData name="Ingo Bethke" userId="0ace9986-83c7-40d8-aadc-a8d8d7c841c6" providerId="ADAL" clId="{C1C157C9-6F82-E249-9846-58DA70C8FB22}" dt="2024-09-17T10:46:02.355" v="1488" actId="20577"/>
        <pc:sldMkLst>
          <pc:docMk/>
          <pc:sldMk cId="3573790918" sldId="441"/>
        </pc:sldMkLst>
        <pc:spChg chg="mod">
          <ac:chgData name="Ingo Bethke" userId="0ace9986-83c7-40d8-aadc-a8d8d7c841c6" providerId="ADAL" clId="{C1C157C9-6F82-E249-9846-58DA70C8FB22}" dt="2024-09-17T08:55:10.073" v="686" actId="20577"/>
          <ac:spMkLst>
            <pc:docMk/>
            <pc:sldMk cId="3573790918" sldId="441"/>
            <ac:spMk id="2" creationId="{7F420939-91E1-E573-F0BD-AD2B47A07E8B}"/>
          </ac:spMkLst>
        </pc:spChg>
        <pc:spChg chg="del">
          <ac:chgData name="Ingo Bethke" userId="0ace9986-83c7-40d8-aadc-a8d8d7c841c6" providerId="ADAL" clId="{C1C157C9-6F82-E249-9846-58DA70C8FB22}" dt="2024-09-17T08:36:28.753" v="26" actId="478"/>
          <ac:spMkLst>
            <pc:docMk/>
            <pc:sldMk cId="3573790918" sldId="441"/>
            <ac:spMk id="3" creationId="{E924D2CF-D65B-2043-E142-255DC1C37D77}"/>
          </ac:spMkLst>
        </pc:spChg>
        <pc:spChg chg="mod">
          <ac:chgData name="Ingo Bethke" userId="0ace9986-83c7-40d8-aadc-a8d8d7c841c6" providerId="ADAL" clId="{C1C157C9-6F82-E249-9846-58DA70C8FB22}" dt="2024-09-17T10:36:08.684" v="1375" actId="1035"/>
          <ac:spMkLst>
            <pc:docMk/>
            <pc:sldMk cId="3573790918" sldId="441"/>
            <ac:spMk id="4" creationId="{D5A6990E-F9BC-87DA-F948-9DD3F0158590}"/>
          </ac:spMkLst>
        </pc:spChg>
        <pc:spChg chg="del">
          <ac:chgData name="Ingo Bethke" userId="0ace9986-83c7-40d8-aadc-a8d8d7c841c6" providerId="ADAL" clId="{C1C157C9-6F82-E249-9846-58DA70C8FB22}" dt="2024-09-17T08:36:31.282" v="27" actId="478"/>
          <ac:spMkLst>
            <pc:docMk/>
            <pc:sldMk cId="3573790918" sldId="441"/>
            <ac:spMk id="5" creationId="{401E7156-5D76-D08F-1E7B-C5BE269A4CD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6" creationId="{A2F048D0-418F-672F-E9CE-E7D61E404982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7" creationId="{635B963A-F567-B230-0FCE-01A54FCABC0A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8" creationId="{759D2482-3D3B-B927-2BB2-C870C1F8FE6D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9" creationId="{DA81BB90-D83D-5146-D0D7-81942D35211D}"/>
          </ac:spMkLst>
        </pc:spChg>
        <pc:spChg chg="add del mod">
          <ac:chgData name="Ingo Bethke" userId="0ace9986-83c7-40d8-aadc-a8d8d7c841c6" providerId="ADAL" clId="{C1C157C9-6F82-E249-9846-58DA70C8FB22}" dt="2024-09-17T08:42:47.446" v="302" actId="478"/>
          <ac:spMkLst>
            <pc:docMk/>
            <pc:sldMk cId="3573790918" sldId="441"/>
            <ac:spMk id="10" creationId="{D5858EF1-CFDA-53C9-40D5-3AA858C71744}"/>
          </ac:spMkLst>
        </pc:spChg>
        <pc:spChg chg="add del mod">
          <ac:chgData name="Ingo Bethke" userId="0ace9986-83c7-40d8-aadc-a8d8d7c841c6" providerId="ADAL" clId="{C1C157C9-6F82-E249-9846-58DA70C8FB22}" dt="2024-09-17T08:45:14.559" v="342"/>
          <ac:spMkLst>
            <pc:docMk/>
            <pc:sldMk cId="3573790918" sldId="441"/>
            <ac:spMk id="11" creationId="{D4F84817-37B0-BE71-BC87-41DC433A9A77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12" creationId="{0561C1F1-E48F-CF1A-5815-263414B75DD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13" creationId="{B73DE0D2-D946-4830-84AB-EB779A32D608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6" creationId="{98CB6615-147D-23FB-3CF6-75925214E9BE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7" creationId="{58CD26CE-29B8-2047-5A03-B74D2E47B488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8" creationId="{5E259E4E-B1A1-9931-E180-0C4EEBC7CEB4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29" creationId="{803B0C1C-74AD-F8C7-A7DA-EFA183DFC1DD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0" creationId="{A78FAC02-1C17-B10A-AC9C-07326E11BEE5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1" creationId="{D6E6E29A-0CEA-3D50-27CE-EB5C998F9BF3}"/>
          </ac:spMkLst>
        </pc:spChg>
        <pc:spChg chg="add del mod">
          <ac:chgData name="Ingo Bethke" userId="0ace9986-83c7-40d8-aadc-a8d8d7c841c6" providerId="ADAL" clId="{C1C157C9-6F82-E249-9846-58DA70C8FB22}" dt="2024-09-17T09:05:48.512" v="1126" actId="478"/>
          <ac:spMkLst>
            <pc:docMk/>
            <pc:sldMk cId="3573790918" sldId="441"/>
            <ac:spMk id="32" creationId="{9C431659-E15A-3067-12DC-76F122A323E1}"/>
          </ac:spMkLst>
        </pc:spChg>
        <pc:spChg chg="add del mod">
          <ac:chgData name="Ingo Bethke" userId="0ace9986-83c7-40d8-aadc-a8d8d7c841c6" providerId="ADAL" clId="{C1C157C9-6F82-E249-9846-58DA70C8FB22}" dt="2024-09-17T09:05:49.889" v="1127" actId="478"/>
          <ac:spMkLst>
            <pc:docMk/>
            <pc:sldMk cId="3573790918" sldId="441"/>
            <ac:spMk id="33" creationId="{84C649B7-F24F-1E3F-B8F9-C608851F842D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37" creationId="{8C74BF2C-6945-6CFB-CC6A-44D3BBCB02C0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1" creationId="{9AD691BE-14F9-467E-4144-4DC7BA260EC2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2" creationId="{DCEC41F6-5D02-20FE-0087-8454068098E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3" creationId="{2DB34CF4-C0D3-FC4C-1188-626E892B4F03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4" creationId="{753314A4-6301-C0E7-7727-3A190A98F77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6" creationId="{165B7E7F-4F1B-0019-E996-F33F489C82EF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47" creationId="{1123A7B3-76EA-1375-E004-7E9EC8952CC7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48" creationId="{A9F8E5CB-2916-B397-AE11-C00DD5745016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49" creationId="{2386EEBC-4389-2A91-D9CD-2ACB7276C3F2}"/>
          </ac:spMkLst>
        </pc:spChg>
        <pc:spChg chg="add mod">
          <ac:chgData name="Ingo Bethke" userId="0ace9986-83c7-40d8-aadc-a8d8d7c841c6" providerId="ADAL" clId="{C1C157C9-6F82-E249-9846-58DA70C8FB22}" dt="2024-09-17T10:35:45.904" v="1366" actId="1036"/>
          <ac:spMkLst>
            <pc:docMk/>
            <pc:sldMk cId="3573790918" sldId="441"/>
            <ac:spMk id="50" creationId="{D05000D0-BE74-07D5-1588-8D6D61A13692}"/>
          </ac:spMkLst>
        </pc:spChg>
        <pc:spChg chg="add mod">
          <ac:chgData name="Ingo Bethke" userId="0ace9986-83c7-40d8-aadc-a8d8d7c841c6" providerId="ADAL" clId="{C1C157C9-6F82-E249-9846-58DA70C8FB22}" dt="2024-09-17T10:36:22.873" v="1377" actId="1036"/>
          <ac:spMkLst>
            <pc:docMk/>
            <pc:sldMk cId="3573790918" sldId="441"/>
            <ac:spMk id="51" creationId="{19A461E0-E895-8353-3734-CF4F3C5584BD}"/>
          </ac:spMkLst>
        </pc:spChg>
        <pc:spChg chg="add mod">
          <ac:chgData name="Ingo Bethke" userId="0ace9986-83c7-40d8-aadc-a8d8d7c841c6" providerId="ADAL" clId="{C1C157C9-6F82-E249-9846-58DA70C8FB22}" dt="2024-09-17T10:44:41.699" v="1475" actId="20577"/>
          <ac:spMkLst>
            <pc:docMk/>
            <pc:sldMk cId="3573790918" sldId="441"/>
            <ac:spMk id="52" creationId="{AB6FE19B-1D48-0441-BB38-BA78BF11B6BB}"/>
          </ac:spMkLst>
        </pc:spChg>
        <pc:spChg chg="add mod">
          <ac:chgData name="Ingo Bethke" userId="0ace9986-83c7-40d8-aadc-a8d8d7c841c6" providerId="ADAL" clId="{C1C157C9-6F82-E249-9846-58DA70C8FB22}" dt="2024-09-17T10:43:48.992" v="1456" actId="1076"/>
          <ac:spMkLst>
            <pc:docMk/>
            <pc:sldMk cId="3573790918" sldId="441"/>
            <ac:spMk id="53" creationId="{D49577B5-60BF-15BC-DB28-F6FF57DB98E7}"/>
          </ac:spMkLst>
        </pc:spChg>
        <pc:spChg chg="add mod">
          <ac:chgData name="Ingo Bethke" userId="0ace9986-83c7-40d8-aadc-a8d8d7c841c6" providerId="ADAL" clId="{C1C157C9-6F82-E249-9846-58DA70C8FB22}" dt="2024-09-17T10:46:02.355" v="1488" actId="20577"/>
          <ac:spMkLst>
            <pc:docMk/>
            <pc:sldMk cId="3573790918" sldId="441"/>
            <ac:spMk id="54" creationId="{34D2D38E-C891-2087-B9A8-330EACEC9C30}"/>
          </ac:spMkLst>
        </pc:spChg>
        <pc:spChg chg="add mod">
          <ac:chgData name="Ingo Bethke" userId="0ace9986-83c7-40d8-aadc-a8d8d7c841c6" providerId="ADAL" clId="{C1C157C9-6F82-E249-9846-58DA70C8FB22}" dt="2024-09-17T10:44:33.673" v="1473" actId="20577"/>
          <ac:spMkLst>
            <pc:docMk/>
            <pc:sldMk cId="3573790918" sldId="441"/>
            <ac:spMk id="55" creationId="{E0C51EC5-6838-4052-47D8-E5EF9DF60E5E}"/>
          </ac:spMkLst>
        </pc:sp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15" creationId="{19AB625B-E874-69D6-4DA9-F3500D3D6AAE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17" creationId="{D7C9B004-2592-3051-6AC8-C352ED7AB1A8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20" creationId="{15623E52-1550-86C6-0FCA-5C0F00EC2AA4}"/>
          </ac:cxnSpMkLst>
        </pc:cxnChg>
        <pc:cxnChg chg="add mod">
          <ac:chgData name="Ingo Bethke" userId="0ace9986-83c7-40d8-aadc-a8d8d7c841c6" providerId="ADAL" clId="{C1C157C9-6F82-E249-9846-58DA70C8FB22}" dt="2024-09-17T10:35:45.904" v="1366" actId="1036"/>
          <ac:cxnSpMkLst>
            <pc:docMk/>
            <pc:sldMk cId="3573790918" sldId="441"/>
            <ac:cxnSpMk id="34" creationId="{A9066B25-3211-F5D7-514E-DB630F326FF3}"/>
          </ac:cxnSpMkLst>
        </pc:cxnChg>
        <pc:cxnChg chg="add del mod">
          <ac:chgData name="Ingo Bethke" userId="0ace9986-83c7-40d8-aadc-a8d8d7c841c6" providerId="ADAL" clId="{C1C157C9-6F82-E249-9846-58DA70C8FB22}" dt="2024-09-17T09:05:51.195" v="1128" actId="478"/>
          <ac:cxnSpMkLst>
            <pc:docMk/>
            <pc:sldMk cId="3573790918" sldId="441"/>
            <ac:cxnSpMk id="35" creationId="{B1AEA7B8-7C0A-3A2E-C005-079E7438682D}"/>
          </ac:cxnSpMkLst>
        </pc:cxnChg>
        <pc:cxnChg chg="add del mod">
          <ac:chgData name="Ingo Bethke" userId="0ace9986-83c7-40d8-aadc-a8d8d7c841c6" providerId="ADAL" clId="{C1C157C9-6F82-E249-9846-58DA70C8FB22}" dt="2024-09-17T09:05:52.140" v="1129" actId="478"/>
          <ac:cxnSpMkLst>
            <pc:docMk/>
            <pc:sldMk cId="3573790918" sldId="441"/>
            <ac:cxnSpMk id="36" creationId="{72F546CF-A0F5-3C6B-5EAA-A48277FE974A}"/>
          </ac:cxnSpMkLst>
        </pc:cxnChg>
        <pc:cxnChg chg="add mod">
          <ac:chgData name="Ingo Bethke" userId="0ace9986-83c7-40d8-aadc-a8d8d7c841c6" providerId="ADAL" clId="{C1C157C9-6F82-E249-9846-58DA70C8FB22}" dt="2024-09-17T10:36:22.873" v="1377" actId="1036"/>
          <ac:cxnSpMkLst>
            <pc:docMk/>
            <pc:sldMk cId="3573790918" sldId="441"/>
            <ac:cxnSpMk id="45" creationId="{9CDA44A8-4C99-2191-EAC7-04EACD56150C}"/>
          </ac:cxnSpMkLst>
        </pc:cxnChg>
      </pc:sldChg>
      <pc:sldChg chg="addSp delSp modSp add mod ord">
        <pc:chgData name="Ingo Bethke" userId="0ace9986-83c7-40d8-aadc-a8d8d7c841c6" providerId="ADAL" clId="{C1C157C9-6F82-E249-9846-58DA70C8FB22}" dt="2024-09-20T08:54:56.311" v="4911" actId="20578"/>
        <pc:sldMkLst>
          <pc:docMk/>
          <pc:sldMk cId="3922302654" sldId="442"/>
        </pc:sldMkLst>
        <pc:spChg chg="add del">
          <ac:chgData name="Ingo Bethke" userId="0ace9986-83c7-40d8-aadc-a8d8d7c841c6" providerId="ADAL" clId="{C1C157C9-6F82-E249-9846-58DA70C8FB22}" dt="2024-09-17T11:01:16.891" v="2425" actId="478"/>
          <ac:spMkLst>
            <pc:docMk/>
            <pc:sldMk cId="3922302654" sldId="442"/>
            <ac:spMk id="3" creationId="{E393B44E-BF41-7122-CE0B-BB0709349B4C}"/>
          </ac:spMkLst>
        </pc:spChg>
        <pc:spChg chg="mod">
          <ac:chgData name="Ingo Bethke" userId="0ace9986-83c7-40d8-aadc-a8d8d7c841c6" providerId="ADAL" clId="{C1C157C9-6F82-E249-9846-58DA70C8FB22}" dt="2024-09-20T08:08:21.359" v="3797" actId="313"/>
          <ac:spMkLst>
            <pc:docMk/>
            <pc:sldMk cId="3922302654" sldId="442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17T13:11:56.052" v="2476" actId="20577"/>
          <ac:spMkLst>
            <pc:docMk/>
            <pc:sldMk cId="3922302654" sldId="442"/>
            <ac:spMk id="7" creationId="{85275E20-790A-58A5-0A7A-59DEF3041FD4}"/>
          </ac:spMkLst>
        </pc:spChg>
      </pc:sldChg>
      <pc:sldChg chg="modSp add mod ord">
        <pc:chgData name="Ingo Bethke" userId="0ace9986-83c7-40d8-aadc-a8d8d7c841c6" providerId="ADAL" clId="{C1C157C9-6F82-E249-9846-58DA70C8FB22}" dt="2024-09-17T13:30:33.674" v="3585" actId="255"/>
        <pc:sldMkLst>
          <pc:docMk/>
          <pc:sldMk cId="1311477454" sldId="443"/>
        </pc:sldMkLst>
        <pc:spChg chg="mod">
          <ac:chgData name="Ingo Bethke" userId="0ace9986-83c7-40d8-aadc-a8d8d7c841c6" providerId="ADAL" clId="{C1C157C9-6F82-E249-9846-58DA70C8FB22}" dt="2024-09-17T13:30:33.674" v="3585" actId="255"/>
          <ac:spMkLst>
            <pc:docMk/>
            <pc:sldMk cId="1311477454" sldId="443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17T13:25:21.913" v="3254" actId="20577"/>
          <ac:spMkLst>
            <pc:docMk/>
            <pc:sldMk cId="1311477454" sldId="443"/>
            <ac:spMk id="7" creationId="{85275E20-790A-58A5-0A7A-59DEF3041FD4}"/>
          </ac:spMkLst>
        </pc:spChg>
      </pc:sldChg>
      <pc:sldChg chg="addSp delSp modSp add mod">
        <pc:chgData name="Ingo Bethke" userId="0ace9986-83c7-40d8-aadc-a8d8d7c841c6" providerId="ADAL" clId="{C1C157C9-6F82-E249-9846-58DA70C8FB22}" dt="2024-09-20T09:05:30.451" v="5116" actId="20577"/>
        <pc:sldMkLst>
          <pc:docMk/>
          <pc:sldMk cId="1343414685" sldId="444"/>
        </pc:sldMkLst>
        <pc:spChg chg="add mod">
          <ac:chgData name="Ingo Bethke" userId="0ace9986-83c7-40d8-aadc-a8d8d7c841c6" providerId="ADAL" clId="{C1C157C9-6F82-E249-9846-58DA70C8FB22}" dt="2024-09-20T08:17:21.695" v="3966" actId="14100"/>
          <ac:spMkLst>
            <pc:docMk/>
            <pc:sldMk cId="1343414685" sldId="444"/>
            <ac:spMk id="5" creationId="{420EE547-425F-EB22-F37D-3B13004B3D2A}"/>
          </ac:spMkLst>
        </pc:spChg>
        <pc:spChg chg="add del mod">
          <ac:chgData name="Ingo Bethke" userId="0ace9986-83c7-40d8-aadc-a8d8d7c841c6" providerId="ADAL" clId="{C1C157C9-6F82-E249-9846-58DA70C8FB22}" dt="2024-09-20T09:05:30.451" v="5116" actId="20577"/>
          <ac:spMkLst>
            <pc:docMk/>
            <pc:sldMk cId="1343414685" sldId="444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0T08:16:26.982" v="3956" actId="20577"/>
          <ac:spMkLst>
            <pc:docMk/>
            <pc:sldMk cId="1343414685" sldId="444"/>
            <ac:spMk id="7" creationId="{85275E20-790A-58A5-0A7A-59DEF3041FD4}"/>
          </ac:spMkLst>
        </pc:spChg>
        <pc:spChg chg="add del mod">
          <ac:chgData name="Ingo Bethke" userId="0ace9986-83c7-40d8-aadc-a8d8d7c841c6" providerId="ADAL" clId="{C1C157C9-6F82-E249-9846-58DA70C8FB22}" dt="2024-09-20T08:23:11.434" v="4285" actId="478"/>
          <ac:spMkLst>
            <pc:docMk/>
            <pc:sldMk cId="1343414685" sldId="444"/>
            <ac:spMk id="9" creationId="{29D59C9A-5E49-D739-760E-A8BDC0097277}"/>
          </ac:spMkLst>
        </pc:spChg>
        <pc:picChg chg="add mod">
          <ac:chgData name="Ingo Bethke" userId="0ace9986-83c7-40d8-aadc-a8d8d7c841c6" providerId="ADAL" clId="{C1C157C9-6F82-E249-9846-58DA70C8FB22}" dt="2024-09-20T08:15:34.179" v="3945" actId="1076"/>
          <ac:picMkLst>
            <pc:docMk/>
            <pc:sldMk cId="1343414685" sldId="444"/>
            <ac:picMk id="3" creationId="{9604BB48-9E53-AA77-243B-D6B71450946B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0T08:23:59.634" v="4324" actId="14100"/>
        <pc:sldMkLst>
          <pc:docMk/>
          <pc:sldMk cId="3138478171" sldId="445"/>
        </pc:sldMkLst>
        <pc:spChg chg="add mod">
          <ac:chgData name="Ingo Bethke" userId="0ace9986-83c7-40d8-aadc-a8d8d7c841c6" providerId="ADAL" clId="{C1C157C9-6F82-E249-9846-58DA70C8FB22}" dt="2024-09-20T08:23:59.634" v="4324" actId="14100"/>
          <ac:spMkLst>
            <pc:docMk/>
            <pc:sldMk cId="3138478171" sldId="445"/>
            <ac:spMk id="2" creationId="{253A14CF-0721-839B-2260-D0584B0ED3DC}"/>
          </ac:spMkLst>
        </pc:spChg>
        <pc:spChg chg="del">
          <ac:chgData name="Ingo Bethke" userId="0ace9986-83c7-40d8-aadc-a8d8d7c841c6" providerId="ADAL" clId="{C1C157C9-6F82-E249-9846-58DA70C8FB22}" dt="2024-09-20T08:19:14.709" v="4063" actId="478"/>
          <ac:spMkLst>
            <pc:docMk/>
            <pc:sldMk cId="3138478171" sldId="445"/>
            <ac:spMk id="5" creationId="{420EE547-425F-EB22-F37D-3B13004B3D2A}"/>
          </ac:spMkLst>
        </pc:spChg>
        <pc:spChg chg="mod">
          <ac:chgData name="Ingo Bethke" userId="0ace9986-83c7-40d8-aadc-a8d8d7c841c6" providerId="ADAL" clId="{C1C157C9-6F82-E249-9846-58DA70C8FB22}" dt="2024-09-20T08:23:20.931" v="4287" actId="2085"/>
          <ac:spMkLst>
            <pc:docMk/>
            <pc:sldMk cId="3138478171" sldId="445"/>
            <ac:spMk id="6" creationId="{7BE72CB7-A3D9-3E78-D59B-0F72F5E51866}"/>
          </ac:spMkLst>
        </pc:spChg>
        <pc:picChg chg="del">
          <ac:chgData name="Ingo Bethke" userId="0ace9986-83c7-40d8-aadc-a8d8d7c841c6" providerId="ADAL" clId="{C1C157C9-6F82-E249-9846-58DA70C8FB22}" dt="2024-09-20T08:19:10.554" v="4062" actId="478"/>
          <ac:picMkLst>
            <pc:docMk/>
            <pc:sldMk cId="3138478171" sldId="445"/>
            <ac:picMk id="3" creationId="{9604BB48-9E53-AA77-243B-D6B71450946B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0T08:27:58.104" v="4490" actId="5793"/>
        <pc:sldMkLst>
          <pc:docMk/>
          <pc:sldMk cId="1370555320" sldId="446"/>
        </pc:sldMkLst>
        <pc:spChg chg="del">
          <ac:chgData name="Ingo Bethke" userId="0ace9986-83c7-40d8-aadc-a8d8d7c841c6" providerId="ADAL" clId="{C1C157C9-6F82-E249-9846-58DA70C8FB22}" dt="2024-09-20T08:25:12.725" v="4383" actId="478"/>
          <ac:spMkLst>
            <pc:docMk/>
            <pc:sldMk cId="1370555320" sldId="446"/>
            <ac:spMk id="2" creationId="{253A14CF-0721-839B-2260-D0584B0ED3DC}"/>
          </ac:spMkLst>
        </pc:spChg>
        <pc:spChg chg="mod">
          <ac:chgData name="Ingo Bethke" userId="0ace9986-83c7-40d8-aadc-a8d8d7c841c6" providerId="ADAL" clId="{C1C157C9-6F82-E249-9846-58DA70C8FB22}" dt="2024-09-20T08:27:58.104" v="4490" actId="5793"/>
          <ac:spMkLst>
            <pc:docMk/>
            <pc:sldMk cId="1370555320" sldId="446"/>
            <ac:spMk id="6" creationId="{7BE72CB7-A3D9-3E78-D59B-0F72F5E51866}"/>
          </ac:spMkLst>
        </pc:spChg>
        <pc:picChg chg="add del mod">
          <ac:chgData name="Ingo Bethke" userId="0ace9986-83c7-40d8-aadc-a8d8d7c841c6" providerId="ADAL" clId="{C1C157C9-6F82-E249-9846-58DA70C8FB22}" dt="2024-09-20T08:27:54.600" v="4488" actId="478"/>
          <ac:picMkLst>
            <pc:docMk/>
            <pc:sldMk cId="1370555320" sldId="446"/>
            <ac:picMk id="5" creationId="{A820BFB9-D04E-7AA1-9F18-D0B745168FF4}"/>
          </ac:picMkLst>
        </pc:picChg>
      </pc:sldChg>
      <pc:sldChg chg="addSp modSp add mod ord">
        <pc:chgData name="Ingo Bethke" userId="0ace9986-83c7-40d8-aadc-a8d8d7c841c6" providerId="ADAL" clId="{C1C157C9-6F82-E249-9846-58DA70C8FB22}" dt="2024-09-20T08:44:07.783" v="4502" actId="20578"/>
        <pc:sldMkLst>
          <pc:docMk/>
          <pc:sldMk cId="3102893300" sldId="447"/>
        </pc:sldMkLst>
        <pc:spChg chg="add mod">
          <ac:chgData name="Ingo Bethke" userId="0ace9986-83c7-40d8-aadc-a8d8d7c841c6" providerId="ADAL" clId="{C1C157C9-6F82-E249-9846-58DA70C8FB22}" dt="2024-09-20T08:43:50.967" v="4500" actId="1076"/>
          <ac:spMkLst>
            <pc:docMk/>
            <pc:sldMk cId="3102893300" sldId="447"/>
            <ac:spMk id="2" creationId="{D2012C9F-A1B1-89F9-6A2A-4F7A4852528A}"/>
          </ac:spMkLst>
        </pc:spChg>
        <pc:spChg chg="mod">
          <ac:chgData name="Ingo Bethke" userId="0ace9986-83c7-40d8-aadc-a8d8d7c841c6" providerId="ADAL" clId="{C1C157C9-6F82-E249-9846-58DA70C8FB22}" dt="2024-09-20T08:28:08.867" v="4495" actId="12"/>
          <ac:spMkLst>
            <pc:docMk/>
            <pc:sldMk cId="3102893300" sldId="447"/>
            <ac:spMk id="6" creationId="{7BE72CB7-A3D9-3E78-D59B-0F72F5E51866}"/>
          </ac:spMkLst>
        </pc:spChg>
        <pc:picChg chg="mod">
          <ac:chgData name="Ingo Bethke" userId="0ace9986-83c7-40d8-aadc-a8d8d7c841c6" providerId="ADAL" clId="{C1C157C9-6F82-E249-9846-58DA70C8FB22}" dt="2024-09-20T08:43:46.361" v="4498" actId="1076"/>
          <ac:picMkLst>
            <pc:docMk/>
            <pc:sldMk cId="3102893300" sldId="447"/>
            <ac:picMk id="5" creationId="{A820BFB9-D04E-7AA1-9F18-D0B745168FF4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0T08:45:44.747" v="4591"/>
        <pc:sldMkLst>
          <pc:docMk/>
          <pc:sldMk cId="2377969491" sldId="448"/>
        </pc:sldMkLst>
        <pc:spChg chg="add mod">
          <ac:chgData name="Ingo Bethke" userId="0ace9986-83c7-40d8-aadc-a8d8d7c841c6" providerId="ADAL" clId="{C1C157C9-6F82-E249-9846-58DA70C8FB22}" dt="2024-09-20T08:45:09.835" v="4587" actId="1076"/>
          <ac:spMkLst>
            <pc:docMk/>
            <pc:sldMk cId="2377969491" sldId="448"/>
            <ac:spMk id="3" creationId="{05901683-0A81-0261-E607-F04F13E2F1FC}"/>
          </ac:spMkLst>
        </pc:spChg>
        <pc:spChg chg="mod">
          <ac:chgData name="Ingo Bethke" userId="0ace9986-83c7-40d8-aadc-a8d8d7c841c6" providerId="ADAL" clId="{C1C157C9-6F82-E249-9846-58DA70C8FB22}" dt="2024-09-20T08:44:49.975" v="4571" actId="20577"/>
          <ac:spMkLst>
            <pc:docMk/>
            <pc:sldMk cId="2377969491" sldId="448"/>
            <ac:spMk id="6" creationId="{7BE72CB7-A3D9-3E78-D59B-0F72F5E51866}"/>
          </ac:spMkLst>
        </pc:spChg>
        <pc:spChg chg="add del mod">
          <ac:chgData name="Ingo Bethke" userId="0ace9986-83c7-40d8-aadc-a8d8d7c841c6" providerId="ADAL" clId="{C1C157C9-6F82-E249-9846-58DA70C8FB22}" dt="2024-09-20T08:45:44.747" v="4591"/>
          <ac:spMkLst>
            <pc:docMk/>
            <pc:sldMk cId="2377969491" sldId="448"/>
            <ac:spMk id="8" creationId="{65603BA4-7054-032B-3E8C-F250A05ABA10}"/>
          </ac:spMkLst>
        </pc:spChg>
      </pc:sldChg>
      <pc:sldChg chg="modSp add mod">
        <pc:chgData name="Ingo Bethke" userId="0ace9986-83c7-40d8-aadc-a8d8d7c841c6" providerId="ADAL" clId="{C1C157C9-6F82-E249-9846-58DA70C8FB22}" dt="2024-09-20T08:47:19.888" v="4734" actId="20577"/>
        <pc:sldMkLst>
          <pc:docMk/>
          <pc:sldMk cId="4181016718" sldId="449"/>
        </pc:sldMkLst>
        <pc:spChg chg="mod">
          <ac:chgData name="Ingo Bethke" userId="0ace9986-83c7-40d8-aadc-a8d8d7c841c6" providerId="ADAL" clId="{C1C157C9-6F82-E249-9846-58DA70C8FB22}" dt="2024-09-20T08:47:19.888" v="4734" actId="20577"/>
          <ac:spMkLst>
            <pc:docMk/>
            <pc:sldMk cId="4181016718" sldId="449"/>
            <ac:spMk id="3" creationId="{05901683-0A81-0261-E607-F04F13E2F1FC}"/>
          </ac:spMkLst>
        </pc:spChg>
        <pc:spChg chg="mod">
          <ac:chgData name="Ingo Bethke" userId="0ace9986-83c7-40d8-aadc-a8d8d7c841c6" providerId="ADAL" clId="{C1C157C9-6F82-E249-9846-58DA70C8FB22}" dt="2024-09-20T08:46:13.001" v="4643" actId="20577"/>
          <ac:spMkLst>
            <pc:docMk/>
            <pc:sldMk cId="4181016718" sldId="449"/>
            <ac:spMk id="6" creationId="{7BE72CB7-A3D9-3E78-D59B-0F72F5E51866}"/>
          </ac:spMkLst>
        </pc:spChg>
      </pc:sldChg>
      <pc:sldChg chg="modSp add mod">
        <pc:chgData name="Ingo Bethke" userId="0ace9986-83c7-40d8-aadc-a8d8d7c841c6" providerId="ADAL" clId="{C1C157C9-6F82-E249-9846-58DA70C8FB22}" dt="2024-09-20T08:48:16.499" v="4800" actId="20577"/>
        <pc:sldMkLst>
          <pc:docMk/>
          <pc:sldMk cId="2249567906" sldId="450"/>
        </pc:sldMkLst>
        <pc:spChg chg="mod">
          <ac:chgData name="Ingo Bethke" userId="0ace9986-83c7-40d8-aadc-a8d8d7c841c6" providerId="ADAL" clId="{C1C157C9-6F82-E249-9846-58DA70C8FB22}" dt="2024-09-20T08:48:16.499" v="4800" actId="20577"/>
          <ac:spMkLst>
            <pc:docMk/>
            <pc:sldMk cId="2249567906" sldId="450"/>
            <ac:spMk id="3" creationId="{05901683-0A81-0261-E607-F04F13E2F1FC}"/>
          </ac:spMkLst>
        </pc:spChg>
        <pc:spChg chg="mod">
          <ac:chgData name="Ingo Bethke" userId="0ace9986-83c7-40d8-aadc-a8d8d7c841c6" providerId="ADAL" clId="{C1C157C9-6F82-E249-9846-58DA70C8FB22}" dt="2024-09-20T08:48:03.037" v="4785" actId="20577"/>
          <ac:spMkLst>
            <pc:docMk/>
            <pc:sldMk cId="2249567906" sldId="450"/>
            <ac:spMk id="6" creationId="{7BE72CB7-A3D9-3E78-D59B-0F72F5E51866}"/>
          </ac:spMkLst>
        </pc:spChg>
      </pc:sldChg>
      <pc:sldChg chg="addSp delSp modSp add mod ord">
        <pc:chgData name="Ingo Bethke" userId="0ace9986-83c7-40d8-aadc-a8d8d7c841c6" providerId="ADAL" clId="{C1C157C9-6F82-E249-9846-58DA70C8FB22}" dt="2024-09-20T09:01:43.278" v="5016" actId="478"/>
        <pc:sldMkLst>
          <pc:docMk/>
          <pc:sldMk cId="963669094" sldId="451"/>
        </pc:sldMkLst>
        <pc:spChg chg="del">
          <ac:chgData name="Ingo Bethke" userId="0ace9986-83c7-40d8-aadc-a8d8d7c841c6" providerId="ADAL" clId="{C1C157C9-6F82-E249-9846-58DA70C8FB22}" dt="2024-09-20T08:53:07.624" v="4900" actId="478"/>
          <ac:spMkLst>
            <pc:docMk/>
            <pc:sldMk cId="963669094" sldId="451"/>
            <ac:spMk id="3" creationId="{05901683-0A81-0261-E607-F04F13E2F1FC}"/>
          </ac:spMkLst>
        </pc:spChg>
        <pc:spChg chg="mod">
          <ac:chgData name="Ingo Bethke" userId="0ace9986-83c7-40d8-aadc-a8d8d7c841c6" providerId="ADAL" clId="{C1C157C9-6F82-E249-9846-58DA70C8FB22}" dt="2024-09-20T08:56:24.632" v="4940" actId="20577"/>
          <ac:spMkLst>
            <pc:docMk/>
            <pc:sldMk cId="963669094" sldId="451"/>
            <ac:spMk id="6" creationId="{7BE72CB7-A3D9-3E78-D59B-0F72F5E51866}"/>
          </ac:spMkLst>
        </pc:spChg>
        <pc:spChg chg="add mod">
          <ac:chgData name="Ingo Bethke" userId="0ace9986-83c7-40d8-aadc-a8d8d7c841c6" providerId="ADAL" clId="{C1C157C9-6F82-E249-9846-58DA70C8FB22}" dt="2024-09-20T09:00:17.022" v="4948" actId="1076"/>
          <ac:spMkLst>
            <pc:docMk/>
            <pc:sldMk cId="963669094" sldId="451"/>
            <ac:spMk id="8" creationId="{0C980038-4DA4-C15E-5D40-E365D5BDC61A}"/>
          </ac:spMkLst>
        </pc:spChg>
        <pc:spChg chg="add del mod">
          <ac:chgData name="Ingo Bethke" userId="0ace9986-83c7-40d8-aadc-a8d8d7c841c6" providerId="ADAL" clId="{C1C157C9-6F82-E249-9846-58DA70C8FB22}" dt="2024-09-20T09:01:43.278" v="5016" actId="478"/>
          <ac:spMkLst>
            <pc:docMk/>
            <pc:sldMk cId="963669094" sldId="451"/>
            <ac:spMk id="9" creationId="{941713ED-974C-CA2A-3749-DED06420FB11}"/>
          </ac:spMkLst>
        </pc:spChg>
        <pc:picChg chg="add mod">
          <ac:chgData name="Ingo Bethke" userId="0ace9986-83c7-40d8-aadc-a8d8d7c841c6" providerId="ADAL" clId="{C1C157C9-6F82-E249-9846-58DA70C8FB22}" dt="2024-09-20T09:00:12.206" v="4947" actId="1076"/>
          <ac:picMkLst>
            <pc:docMk/>
            <pc:sldMk cId="963669094" sldId="451"/>
            <ac:picMk id="5" creationId="{98EB82B9-4B72-D0AE-72A6-796B6FD4DA61}"/>
          </ac:picMkLst>
        </pc:picChg>
      </pc:sldChg>
      <pc:sldChg chg="addSp delSp modSp add mod">
        <pc:chgData name="Ingo Bethke" userId="0ace9986-83c7-40d8-aadc-a8d8d7c841c6" providerId="ADAL" clId="{C1C157C9-6F82-E249-9846-58DA70C8FB22}" dt="2024-09-20T09:05:04.985" v="5099" actId="14100"/>
        <pc:sldMkLst>
          <pc:docMk/>
          <pc:sldMk cId="1728711773" sldId="452"/>
        </pc:sldMkLst>
        <pc:spChg chg="mod">
          <ac:chgData name="Ingo Bethke" userId="0ace9986-83c7-40d8-aadc-a8d8d7c841c6" providerId="ADAL" clId="{C1C157C9-6F82-E249-9846-58DA70C8FB22}" dt="2024-09-20T09:02:30.222" v="5072" actId="20577"/>
          <ac:spMkLst>
            <pc:docMk/>
            <pc:sldMk cId="1728711773" sldId="452"/>
            <ac:spMk id="6" creationId="{7BE72CB7-A3D9-3E78-D59B-0F72F5E51866}"/>
          </ac:spMkLst>
        </pc:spChg>
        <pc:spChg chg="mod">
          <ac:chgData name="Ingo Bethke" userId="0ace9986-83c7-40d8-aadc-a8d8d7c841c6" providerId="ADAL" clId="{C1C157C9-6F82-E249-9846-58DA70C8FB22}" dt="2024-09-20T09:03:38.005" v="5085" actId="1076"/>
          <ac:spMkLst>
            <pc:docMk/>
            <pc:sldMk cId="1728711773" sldId="452"/>
            <ac:spMk id="8" creationId="{0C980038-4DA4-C15E-5D40-E365D5BDC61A}"/>
          </ac:spMkLst>
        </pc:spChg>
        <pc:spChg chg="add mod">
          <ac:chgData name="Ingo Bethke" userId="0ace9986-83c7-40d8-aadc-a8d8d7c841c6" providerId="ADAL" clId="{C1C157C9-6F82-E249-9846-58DA70C8FB22}" dt="2024-09-20T09:05:04.985" v="5099" actId="14100"/>
          <ac:spMkLst>
            <pc:docMk/>
            <pc:sldMk cId="1728711773" sldId="452"/>
            <ac:spMk id="11" creationId="{1FF3C7BD-54F2-0D75-DD16-5C4A9E3A8F50}"/>
          </ac:spMkLst>
        </pc:spChg>
        <pc:picChg chg="add mod">
          <ac:chgData name="Ingo Bethke" userId="0ace9986-83c7-40d8-aadc-a8d8d7c841c6" providerId="ADAL" clId="{C1C157C9-6F82-E249-9846-58DA70C8FB22}" dt="2024-09-20T09:03:28.265" v="5082" actId="167"/>
          <ac:picMkLst>
            <pc:docMk/>
            <pc:sldMk cId="1728711773" sldId="452"/>
            <ac:picMk id="3" creationId="{886DC6EA-46CF-554C-7D29-BD325B46F524}"/>
          </ac:picMkLst>
        </pc:picChg>
        <pc:picChg chg="del mod">
          <ac:chgData name="Ingo Bethke" userId="0ace9986-83c7-40d8-aadc-a8d8d7c841c6" providerId="ADAL" clId="{C1C157C9-6F82-E249-9846-58DA70C8FB22}" dt="2024-09-20T09:02:54.427" v="5073" actId="478"/>
          <ac:picMkLst>
            <pc:docMk/>
            <pc:sldMk cId="1728711773" sldId="452"/>
            <ac:picMk id="5" creationId="{98EB82B9-4B72-D0AE-72A6-796B6FD4DA61}"/>
          </ac:picMkLst>
        </pc:picChg>
        <pc:picChg chg="add mod">
          <ac:chgData name="Ingo Bethke" userId="0ace9986-83c7-40d8-aadc-a8d8d7c841c6" providerId="ADAL" clId="{C1C157C9-6F82-E249-9846-58DA70C8FB22}" dt="2024-09-20T09:04:54.917" v="5096" actId="167"/>
          <ac:picMkLst>
            <pc:docMk/>
            <pc:sldMk cId="1728711773" sldId="452"/>
            <ac:picMk id="10" creationId="{892BB564-5540-8267-4C57-C2E279666485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0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97008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7188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92312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4138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1016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5878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8978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84803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9832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87638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1992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24805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02037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27780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00992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40712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2959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5869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7293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7679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90633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74056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7456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4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0.png"/><Relationship Id="rId4" Type="http://schemas.openxmlformats.org/officeDocument/2006/relationships/image" Target="../media/image2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NorESMhub/NorCPM)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936557"/>
            <a:ext cx="10808888" cy="492443"/>
          </a:xfrm>
        </p:spPr>
        <p:txBody>
          <a:bodyPr/>
          <a:lstStyle/>
          <a:p>
            <a:r>
              <a:rPr lang="en-US" sz="3200" dirty="0"/>
              <a:t>A guide to high-frequent data assimilation with NorESM2</a:t>
            </a:r>
            <a:endParaRPr lang="nb-NO" sz="32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4219227"/>
            <a:ext cx="9982093" cy="1428083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  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endParaRPr lang="nb-NO" sz="1200" dirty="0"/>
          </a:p>
          <a:p>
            <a:r>
              <a:rPr lang="nb-NO" sz="1200" dirty="0"/>
              <a:t>EMAIL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1" y="6518975"/>
            <a:ext cx="6733332" cy="192360"/>
          </a:xfrm>
        </p:spPr>
        <p:txBody>
          <a:bodyPr/>
          <a:lstStyle/>
          <a:p>
            <a:r>
              <a:rPr lang="nb-NO" dirty="0"/>
              <a:t>24 September 2024, Ines2-interim </a:t>
            </a:r>
            <a:r>
              <a:rPr lang="nb-NO" dirty="0" err="1"/>
              <a:t>meeting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noresm</a:t>
            </a:r>
            <a:r>
              <a:rPr lang="nb-NO" dirty="0"/>
              <a:t> </a:t>
            </a:r>
            <a:r>
              <a:rPr lang="nb-NO" dirty="0" err="1"/>
              <a:t>development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4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(or “git clone https://</a:t>
            </a:r>
            <a:r>
              <a:rPr lang="en-GB" sz="14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.com</a:t>
            </a:r>
            <a:r>
              <a:rPr lang="en-GB" sz="14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4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4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4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4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4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4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)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Mini-tutorial for performing a daily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Customizing</a:t>
            </a:r>
            <a:r>
              <a:rPr lang="nb-NO" sz="2200" dirty="0"/>
              <a:t> NorESM2 (</a:t>
            </a:r>
            <a:r>
              <a:rPr lang="nb-NO" sz="2200" dirty="0" err="1"/>
              <a:t>cpu</a:t>
            </a:r>
            <a:r>
              <a:rPr lang="nb-NO" sz="2200" dirty="0"/>
              <a:t> settings, </a:t>
            </a:r>
            <a:r>
              <a:rPr lang="nb-NO" sz="2200" dirty="0" err="1"/>
              <a:t>source</a:t>
            </a:r>
            <a:r>
              <a:rPr lang="nb-NO" sz="2200" dirty="0"/>
              <a:t> </a:t>
            </a:r>
            <a:r>
              <a:rPr lang="nb-NO" sz="2200" dirty="0" err="1"/>
              <a:t>code</a:t>
            </a:r>
            <a:r>
              <a:rPr lang="nb-NO" sz="2200" dirty="0"/>
              <a:t>, </a:t>
            </a:r>
            <a:r>
              <a:rPr lang="nb-NO" sz="2200" dirty="0" err="1"/>
              <a:t>diagnostic</a:t>
            </a:r>
            <a:r>
              <a:rPr lang="nb-NO" sz="2200" dirty="0"/>
              <a:t> outpu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321996" cy="562320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NorCPM</a:t>
            </a:r>
            <a:r>
              <a:rPr lang="nb-NO" sz="2000" dirty="0">
                <a:solidFill>
                  <a:schemeClr val="tx1"/>
                </a:solidFill>
              </a:rPr>
              <a:t>/</a:t>
            </a:r>
            <a:r>
              <a:rPr lang="nb-NO" sz="2000" dirty="0" err="1">
                <a:solidFill>
                  <a:schemeClr val="tx1"/>
                </a:solidFill>
              </a:rPr>
              <a:t>setup</a:t>
            </a:r>
            <a:r>
              <a:rPr lang="nb-NO" sz="2000" dirty="0">
                <a:solidFill>
                  <a:schemeClr val="tx1"/>
                </a:solidFill>
              </a:rPr>
              <a:t>/noresm2/</a:t>
            </a:r>
            <a:r>
              <a:rPr lang="nb-NO" sz="2000" dirty="0" err="1">
                <a:solidFill>
                  <a:schemeClr val="tx1"/>
                </a:solidFill>
              </a:rPr>
              <a:t>user_mods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ntains</a:t>
            </a:r>
            <a:r>
              <a:rPr lang="nb-NO" sz="2000" dirty="0">
                <a:solidFill>
                  <a:schemeClr val="tx1"/>
                </a:solidFill>
              </a:rPr>
              <a:t> NorESM2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640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_clmda_128pes</a:t>
            </a:r>
          </a:p>
          <a:p>
            <a:pPr marL="180000" lvl="3" indent="0">
              <a:buNone/>
            </a:pPr>
            <a:r>
              <a:rPr lang="en-GB" sz="1600" dirty="0">
                <a:solidFill>
                  <a:srgbClr val="3C5FFF"/>
                </a:solidFill>
                <a:effectLst/>
                <a:latin typeface="Menlo" panose="020B0609030804020204" pitchFamily="49" charset="0"/>
              </a:rPr>
              <a:t>noresm2-lmesm_128pes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Each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</a:t>
            </a:r>
            <a:r>
              <a:rPr lang="nb-NO" sz="2000" dirty="0" err="1">
                <a:solidFill>
                  <a:schemeClr val="tx1"/>
                </a:solidFill>
              </a:rPr>
              <a:t>countains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env_mach_pes.xml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specifies</a:t>
            </a:r>
            <a:r>
              <a:rPr lang="nb-NO" sz="2000" dirty="0">
                <a:solidFill>
                  <a:schemeClr val="tx1"/>
                </a:solidFill>
              </a:rPr>
              <a:t> pes/</a:t>
            </a:r>
            <a:r>
              <a:rPr lang="nb-NO" sz="2000" dirty="0" err="1">
                <a:solidFill>
                  <a:schemeClr val="tx1"/>
                </a:solidFill>
              </a:rPr>
              <a:t>cpu</a:t>
            </a:r>
            <a:r>
              <a:rPr lang="nb-NO" sz="2000" dirty="0">
                <a:solidFill>
                  <a:schemeClr val="tx1"/>
                </a:solidFill>
              </a:rPr>
              <a:t> settings</a:t>
            </a: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SourceMods</a:t>
            </a:r>
            <a:r>
              <a:rPr lang="nb-NO" sz="2000" dirty="0">
                <a:solidFill>
                  <a:schemeClr val="tx1"/>
                </a:solidFill>
              </a:rPr>
              <a:t>: </a:t>
            </a:r>
            <a:r>
              <a:rPr lang="nb-NO" sz="2000" dirty="0" err="1">
                <a:solidFill>
                  <a:schemeClr val="tx1"/>
                </a:solidFill>
              </a:rPr>
              <a:t>customiz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our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od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should</a:t>
            </a:r>
            <a:r>
              <a:rPr lang="nb-NO" sz="2000" dirty="0">
                <a:solidFill>
                  <a:schemeClr val="tx1"/>
                </a:solidFill>
              </a:rPr>
              <a:t> be </a:t>
            </a:r>
            <a:r>
              <a:rPr lang="nb-NO" sz="2000" dirty="0" err="1">
                <a:solidFill>
                  <a:schemeClr val="tx1"/>
                </a:solidFill>
              </a:rPr>
              <a:t>placed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there</a:t>
            </a:r>
            <a:endParaRPr lang="nb-NO" sz="2000" dirty="0">
              <a:solidFill>
                <a:schemeClr val="tx1"/>
              </a:solidFill>
            </a:endParaRPr>
          </a:p>
          <a:p>
            <a:pPr lvl="1"/>
            <a:r>
              <a:rPr lang="nb-NO" sz="2000" dirty="0" err="1">
                <a:solidFill>
                  <a:schemeClr val="tx1"/>
                </a:solidFill>
              </a:rPr>
              <a:t>user_nl</a:t>
            </a:r>
            <a:r>
              <a:rPr lang="nb-NO" sz="2000" dirty="0">
                <a:solidFill>
                  <a:schemeClr val="tx1"/>
                </a:solidFill>
              </a:rPr>
              <a:t>_*: </a:t>
            </a:r>
            <a:r>
              <a:rPr lang="nb-NO" sz="2000" dirty="0" err="1">
                <a:solidFill>
                  <a:schemeClr val="tx1"/>
                </a:solidFill>
              </a:rPr>
              <a:t>user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amelists</a:t>
            </a:r>
            <a:r>
              <a:rPr lang="nb-NO" sz="2000" dirty="0">
                <a:solidFill>
                  <a:schemeClr val="tx1"/>
                </a:solidFill>
              </a:rPr>
              <a:t> used to </a:t>
            </a:r>
            <a:r>
              <a:rPr lang="nb-NO" sz="2000" dirty="0" err="1">
                <a:solidFill>
                  <a:schemeClr val="tx1"/>
                </a:solidFill>
              </a:rPr>
              <a:t>customiz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diagnostic</a:t>
            </a:r>
            <a:r>
              <a:rPr lang="nb-NO" sz="2000" dirty="0">
                <a:solidFill>
                  <a:schemeClr val="tx1"/>
                </a:solidFill>
              </a:rPr>
              <a:t> output</a:t>
            </a:r>
          </a:p>
          <a:p>
            <a:pPr lvl="1"/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000" dirty="0" err="1">
                <a:solidFill>
                  <a:schemeClr val="tx1"/>
                </a:solidFill>
              </a:rPr>
              <a:t>Ca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reat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new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customization</a:t>
            </a:r>
            <a:r>
              <a:rPr lang="nb-NO" sz="2000" dirty="0">
                <a:solidFill>
                  <a:schemeClr val="tx1"/>
                </a:solidFill>
              </a:rPr>
              <a:t> folder and </a:t>
            </a:r>
            <a:r>
              <a:rPr lang="nb-NO" sz="2000" dirty="0" err="1">
                <a:solidFill>
                  <a:schemeClr val="tx1"/>
                </a:solidFill>
              </a:rPr>
              <a:t>point</a:t>
            </a:r>
            <a:r>
              <a:rPr lang="nb-NO" sz="2000" dirty="0">
                <a:solidFill>
                  <a:schemeClr val="tx1"/>
                </a:solidFill>
              </a:rPr>
              <a:t> to it in </a:t>
            </a:r>
            <a:r>
              <a:rPr lang="nb-NO" sz="2000" dirty="0" err="1">
                <a:solidFill>
                  <a:schemeClr val="tx1"/>
                </a:solidFill>
              </a:rPr>
              <a:t>experiment</a:t>
            </a:r>
            <a:r>
              <a:rPr lang="nb-NO" sz="2000" dirty="0">
                <a:solidFill>
                  <a:schemeClr val="tx1"/>
                </a:solidFill>
              </a:rPr>
              <a:t> settings file (</a:t>
            </a:r>
            <a:r>
              <a:rPr lang="nb-NO" sz="2000" dirty="0" err="1">
                <a:solidFill>
                  <a:schemeClr val="tx1"/>
                </a:solidFill>
              </a:rPr>
              <a:t>next</a:t>
            </a:r>
            <a:r>
              <a:rPr lang="nb-NO" sz="2000" dirty="0">
                <a:solidFill>
                  <a:schemeClr val="tx1"/>
                </a:solidFill>
              </a:rPr>
              <a:t> slides)</a:t>
            </a:r>
            <a:r>
              <a:rPr lang="nb-NO" sz="2200" dirty="0">
                <a:solidFill>
                  <a:schemeClr val="tx1"/>
                </a:solidFill>
              </a:rPr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13114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experiment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XPERIME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2-lm_odaday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case prefix, not including _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YYYYMMDD_memXX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suffix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first member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ENSSIZ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number of members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PSE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HISTfrc2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# need to switch </a:t>
            </a:r>
            <a:r>
              <a:rPr lang="en-GB" sz="1600" dirty="0" err="1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compset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 at start of 2015 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USER_MODS_DIR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user_mods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_128pe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f19_tn14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ART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996-01-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YYYY-MM-DD </a:t>
            </a:r>
          </a:p>
          <a:p>
            <a:pPr marL="0" indent="0">
              <a:buNone/>
            </a:pP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job settings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OPTIO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years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units for run length specification STOP_N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STOP_N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un </a:t>
            </a:r>
            <a:r>
              <a:rPr lang="en-GB" sz="1600" dirty="0" err="1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continuesly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 for this length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STAR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7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restart this many times  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WALLTIM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96:00:00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 # for debugging use 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00:59:00 –</a:t>
            </a:r>
            <a:r>
              <a:rPr lang="en-GB" sz="1600" dirty="0" err="1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qos</a:t>
            </a:r>
            <a:r>
              <a:rPr lang="en-GB" sz="1600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1600" dirty="0" err="1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devel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 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CCOUNT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n9039k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AX_PARALLEL_STARCHIV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30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experiment and job settings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3810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– ref. cases guessed from REF_CASE_PREFIX, REF_CASE_SUFFIX_MEMBER1 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ranch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PREFIX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oresm_ctl_19700101_197001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160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SUFFIX_MEMBER1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_mem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_PREFIX}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sz="1600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996-01-01</a:t>
            </a:r>
            <a:r>
              <a:rPr lang="en-GB" sz="1600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sz="16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 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1: guess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6ECE7-6D19-7277-20AB-18DEE6189A6A}"/>
              </a:ext>
            </a:extLst>
          </p:cNvPr>
          <p:cNvSpPr txBox="1"/>
          <p:nvPr/>
        </p:nvSpPr>
        <p:spPr>
          <a:xfrm>
            <a:off x="3696928" y="4551920"/>
            <a:ext cx="8004183" cy="14773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ference case names guessed from REF_CASE_PREFIX and REF_CASE_SUFFIX_MEMBER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umber of references cases &gt;= ENSSIZ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/>
              <a:t>RUN_TYPE can be either “branch” or “hybri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/>
              <a:t>available ref dates for NorESM2-LM: 1975, 1985, 1996, 2015 </a:t>
            </a:r>
          </a:p>
        </p:txBody>
      </p:sp>
    </p:spTree>
    <p:extLst>
      <p:ext uri="{BB962C8B-B14F-4D97-AF65-F5344CB8AC3E}">
        <p14:creationId xmlns:p14="http://schemas.microsoft.com/office/powerpoint/2010/main" val="19026601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noresm_ctl_19700101_19700101_mem01 noresm_ctl_19700101_19700101_mem02 noresm_ctl_19700101_19700101_mem03 noresm_ctl_19700101_19700101_mem04 noresm_ctl_19700101_19700101_mem05 noresm_ctl_19700101_19700101_mem06 noresm_ctl_19700101_19700101_mem07 noresm_ctl_19700101_19700101_mem08 noresm_ctl_19700101_19700101_mem09 noresm_ctl_19700101_19700101_mem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       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luster/work/users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USER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restarts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TART_DAT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2: explicitely specified reference case nam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3696929" y="4551920"/>
            <a:ext cx="8004182" cy="92333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ference case names specified with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ference cases cycled if their number is &lt; ENS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DD_PERTURBATION=1 adds atmospheric perturbation if RUN_TYPE=1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5376719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initialisation settings 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UN_TYP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hybrid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CAS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N1850frc2_f09_tn14_20191113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ATH_LOCAL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ccsm4_init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F_CASE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DATE_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500-01-01 1505-01-01 1510-01-01 1515-01-0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DD_PERTURBATION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only for RUN_TYPE=hybrid</a:t>
            </a:r>
          </a:p>
          <a:p>
            <a:pPr marL="0" indent="0">
              <a:buNone/>
            </a:pPr>
            <a:endParaRPr lang="en-GB" dirty="0">
              <a:solidFill>
                <a:srgbClr val="400BD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initialisation option 3: single reference case, multiple reference dates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C2EAA5-D1FD-6189-5D0C-A7E7FE7195A4}"/>
              </a:ext>
            </a:extLst>
          </p:cNvPr>
          <p:cNvSpPr txBox="1"/>
          <p:nvPr/>
        </p:nvSpPr>
        <p:spPr>
          <a:xfrm>
            <a:off x="3696929" y="4551920"/>
            <a:ext cx="7698658" cy="120032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ference case specified with REF_CASE or REF_CAS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</a:t>
            </a:r>
            <a:r>
              <a:rPr lang="en-NO" dirty="0"/>
              <a:t>eferences dates specified with REF_DATE_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ferences dates cycled if number of dates &lt; ENSSIZE</a:t>
            </a:r>
            <a:endParaRPr lang="en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O" dirty="0"/>
              <a:t>RUN_TYPE must be “hybrid”</a:t>
            </a:r>
          </a:p>
        </p:txBody>
      </p:sp>
    </p:spTree>
    <p:extLst>
      <p:ext uri="{BB962C8B-B14F-4D97-AF65-F5344CB8AC3E}">
        <p14:creationId xmlns:p14="http://schemas.microsoft.com/office/powerpoint/2010/main" val="38935071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# assimilation settings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ASSIMROO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SETUPROOT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../..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enkf_noresm2_oda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MEAN_MOD_DIR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_ASSI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enkf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RES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NorESM2-LM-CMIP6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D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2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NTASKS_ENKF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108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CNGRIDFILE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INPUTDATA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ocn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</a:t>
            </a:r>
            <a:r>
              <a:rPr lang="en-GB" dirty="0" err="1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blom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grid/grid_tnx1v4_20170622.nc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OBS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TEM SAL S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PRODUCER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EN422 EN422 NOAA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FREQUENCY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MONTH MONTH DAY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REF_PERIODLIST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1980-2010 1980-2010 1980-2010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  <a:endParaRPr lang="en-GB" dirty="0">
              <a:solidFill>
                <a:srgbClr val="B42419"/>
              </a:solidFill>
              <a:effectLst/>
              <a:latin typeface="Menlo" panose="020B0609030804020204" pitchFamily="49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400BD9"/>
                </a:solidFill>
                <a:effectLst/>
                <a:latin typeface="Menlo" panose="020B0609030804020204" pitchFamily="49" charset="0"/>
              </a:rPr>
              <a:t>:</a:t>
            </a:r>
            <a:r>
              <a:rPr lang="en-GB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${COMBINE_ASSIM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:='</a:t>
            </a:r>
            <a:r>
              <a:rPr lang="en-GB" dirty="0">
                <a:solidFill>
                  <a:srgbClr val="B42419"/>
                </a:solidFill>
                <a:effectLst/>
                <a:latin typeface="Menlo" panose="020B0609030804020204" pitchFamily="49" charset="0"/>
              </a:rPr>
              <a:t>0 0 1</a:t>
            </a:r>
            <a:r>
              <a:rPr lang="en-GB" dirty="0">
                <a:solidFill>
                  <a:srgbClr val="C1651C"/>
                </a:solidFill>
                <a:effectLst/>
                <a:latin typeface="Menlo" panose="020B0609030804020204" pitchFamily="49" charset="0"/>
              </a:rPr>
              <a:t>'</a:t>
            </a:r>
            <a:r>
              <a:rPr lang="en-GB" dirty="0">
                <a:solidFill>
                  <a:srgbClr val="C814C9"/>
                </a:solidFill>
                <a:effectLst/>
                <a:latin typeface="Menlo" panose="020B0609030804020204" pitchFamily="49" charset="0"/>
              </a:rPr>
              <a:t>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Settings file –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8712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: </a:t>
            </a:r>
            <a:r>
              <a:rPr lang="nb-NO" sz="2200" dirty="0" err="1">
                <a:solidFill>
                  <a:schemeClr val="tx1"/>
                </a:solidFill>
              </a:rPr>
              <a:t>create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in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604BB48-9E53-AA77-243B-D6B7145094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0627" y="1864145"/>
            <a:ext cx="8565160" cy="461834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20EE547-425F-EB22-F37D-3B13004B3D2A}"/>
              </a:ext>
            </a:extLst>
          </p:cNvPr>
          <p:cNvSpPr/>
          <p:nvPr/>
        </p:nvSpPr>
        <p:spPr>
          <a:xfrm>
            <a:off x="7524536" y="2331754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34341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2: log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to Betzy and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174625" lvl="1" indent="0">
              <a:buNone/>
            </a:pP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&lt;my 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ser&gt;/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20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3A14CF-0721-839B-2260-D0584B0ED3DC}"/>
              </a:ext>
            </a:extLst>
          </p:cNvPr>
          <p:cNvSpPr txBox="1"/>
          <p:nvPr/>
        </p:nvSpPr>
        <p:spPr>
          <a:xfrm>
            <a:off x="2717799" y="4038600"/>
            <a:ext cx="7095067" cy="92333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NO" dirty="0"/>
              <a:t>IMPORTANT: Before you can use ”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h://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 form 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you need to create a public ssh-key on 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and 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pload the key to your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profile.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1384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9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3: </a:t>
            </a:r>
            <a:r>
              <a:rPr lang="nb-NO" sz="2200" dirty="0" err="1">
                <a:solidFill>
                  <a:schemeClr val="tx1"/>
                </a:solidFill>
              </a:rPr>
              <a:t>apply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Betzy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5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3384017" cy="51245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 dirty="0">
                <a:solidFill>
                  <a:schemeClr val="tx1"/>
                </a:solidFill>
              </a:rPr>
              <a:t>Offline (NorESM1,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Stop &amp; </a:t>
            </a:r>
            <a:r>
              <a:rPr lang="nb-NO" sz="1800" i="1" dirty="0" err="1">
                <a:solidFill>
                  <a:schemeClr val="tx1"/>
                </a:solidFill>
              </a:rPr>
              <a:t>Restart</a:t>
            </a:r>
            <a:r>
              <a:rPr lang="nb-NO" sz="1800" i="1" dirty="0">
                <a:solidFill>
                  <a:schemeClr val="tx1"/>
                </a:solidFill>
              </a:rPr>
              <a:t>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</a:t>
            </a:r>
            <a:r>
              <a:rPr lang="nb-NO" sz="1800" dirty="0" err="1">
                <a:solidFill>
                  <a:schemeClr val="tx1"/>
                </a:solidFill>
              </a:rPr>
              <a:t>sepera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sequent</a:t>
            </a:r>
            <a:r>
              <a:rPr lang="nb-NO" sz="1800" dirty="0">
                <a:solidFill>
                  <a:schemeClr val="tx1"/>
                </a:solidFill>
              </a:rPr>
              <a:t>.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 via </a:t>
            </a:r>
            <a:r>
              <a:rPr lang="nb-NO" sz="1800" dirty="0" err="1">
                <a:solidFill>
                  <a:schemeClr val="tx1"/>
                </a:solidFill>
              </a:rPr>
              <a:t>modifying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ocn</a:t>
            </a:r>
            <a:r>
              <a:rPr lang="nb-NO" sz="1800" i="1" baseline="30000" dirty="0">
                <a:solidFill>
                  <a:schemeClr val="tx1"/>
                </a:solidFill>
              </a:rPr>
              <a:t>12</a:t>
            </a:r>
            <a:r>
              <a:rPr lang="nb-NO" sz="1800" i="1" dirty="0">
                <a:solidFill>
                  <a:schemeClr val="tx1"/>
                </a:solidFill>
              </a:rPr>
              <a:t>, ice</a:t>
            </a:r>
            <a:r>
              <a:rPr lang="nb-NO" sz="1800" i="1" baseline="30000" dirty="0">
                <a:solidFill>
                  <a:schemeClr val="tx1"/>
                </a:solidFill>
              </a:rPr>
              <a:t>1 </a:t>
            </a:r>
            <a:r>
              <a:rPr lang="nb-NO" sz="1800" i="1" dirty="0">
                <a:solidFill>
                  <a:schemeClr val="tx1"/>
                </a:solidFill>
              </a:rPr>
              <a:t>,lnd</a:t>
            </a:r>
            <a:r>
              <a:rPr lang="nb-NO" sz="1800" i="1" baseline="30000" dirty="0">
                <a:solidFill>
                  <a:schemeClr val="tx1"/>
                </a:solidFill>
              </a:rPr>
              <a:t>1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r>
              <a:rPr lang="nb-NO" sz="1800" dirty="0">
                <a:solidFill>
                  <a:schemeClr val="tx1"/>
                </a:solidFill>
              </a:rPr>
              <a:t> (</a:t>
            </a:r>
            <a:r>
              <a:rPr lang="nb-NO" sz="1800" dirty="0" err="1">
                <a:solidFill>
                  <a:schemeClr val="tx1"/>
                </a:solidFill>
              </a:rPr>
              <a:t>slow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it</a:t>
            </a:r>
            <a:r>
              <a:rPr lang="nb-NO" sz="1800" dirty="0">
                <a:solidFill>
                  <a:schemeClr val="tx1"/>
                </a:solidFill>
              </a:rPr>
              <a:t>. &amp; </a:t>
            </a:r>
            <a:r>
              <a:rPr lang="nb-NO" sz="1800" dirty="0" err="1">
                <a:solidFill>
                  <a:schemeClr val="tx1"/>
                </a:solidFill>
              </a:rPr>
              <a:t>read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e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full </a:t>
            </a:r>
            <a:r>
              <a:rPr lang="nb-NO" sz="1800" dirty="0" err="1">
                <a:solidFill>
                  <a:schemeClr val="tx1"/>
                </a:solidFill>
              </a:rPr>
              <a:t>restarts</a:t>
            </a:r>
            <a:r>
              <a:rPr lang="nb-NO" sz="18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DA implementations for NorCP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5A12A4-43BC-42B1-1A0E-56D7609F4C92}"/>
              </a:ext>
            </a:extLst>
          </p:cNvPr>
          <p:cNvSpPr txBox="1">
            <a:spLocks/>
          </p:cNvSpPr>
          <p:nvPr/>
        </p:nvSpPr>
        <p:spPr>
          <a:xfrm>
            <a:off x="8268034" y="1234799"/>
            <a:ext cx="3471095" cy="47088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>
                <a:solidFill>
                  <a:schemeClr val="tx1"/>
                </a:solidFill>
              </a:rPr>
              <a:t>Online (NorESM2/2.5/3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NCAR)           </a:t>
            </a:r>
            <a:r>
              <a:rPr lang="nb-NO" sz="1800" dirty="0">
                <a:solidFill>
                  <a:schemeClr val="tx1"/>
                </a:solidFill>
              </a:rPr>
              <a:t>DA </a:t>
            </a:r>
            <a:r>
              <a:rPr lang="nb-NO" sz="1800" dirty="0" err="1">
                <a:solidFill>
                  <a:schemeClr val="tx1"/>
                </a:solidFill>
              </a:rPr>
              <a:t>fully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integrated</a:t>
            </a:r>
            <a:r>
              <a:rPr lang="nb-NO" sz="1800" dirty="0">
                <a:solidFill>
                  <a:schemeClr val="tx1"/>
                </a:solidFill>
              </a:rPr>
              <a:t> part </a:t>
            </a:r>
            <a:r>
              <a:rPr lang="nb-NO" sz="1800" dirty="0" err="1">
                <a:solidFill>
                  <a:schemeClr val="tx1"/>
                </a:solidFill>
              </a:rPr>
              <a:t>of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runs in same </a:t>
            </a:r>
            <a:r>
              <a:rPr lang="nb-NO" sz="1800" dirty="0" err="1">
                <a:solidFill>
                  <a:schemeClr val="tx1"/>
                </a:solidFill>
              </a:rPr>
              <a:t>job</a:t>
            </a: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MPI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between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model</a:t>
            </a:r>
            <a:r>
              <a:rPr lang="nb-NO" sz="1800" dirty="0">
                <a:solidFill>
                  <a:schemeClr val="tx1"/>
                </a:solidFill>
              </a:rPr>
              <a:t> and DA</a:t>
            </a: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3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ice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atm</a:t>
            </a:r>
            <a:endParaRPr lang="nb-NO" sz="18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EABDAE6-55C0-F543-C46A-3FA44E17D8E2}"/>
              </a:ext>
            </a:extLst>
          </p:cNvPr>
          <p:cNvSpPr txBox="1">
            <a:spLocks/>
          </p:cNvSpPr>
          <p:nvPr/>
        </p:nvSpPr>
        <p:spPr>
          <a:xfrm>
            <a:off x="4416957" y="1234799"/>
            <a:ext cx="3384017" cy="4708801"/>
          </a:xfrm>
          <a:prstGeom prst="rect">
            <a:avLst/>
          </a:prstGeom>
          <a:effectLst>
            <a:glow rad="148600">
              <a:srgbClr val="FFC000">
                <a:alpha val="40000"/>
              </a:srgbClr>
            </a:glow>
          </a:effectLst>
        </p:spPr>
        <p:txBody>
          <a:bodyPr vert="horz" lIns="0" tIns="0" rIns="0" bIns="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sz="2000" dirty="0" err="1">
                <a:solidFill>
                  <a:schemeClr val="tx1"/>
                </a:solidFill>
              </a:rPr>
              <a:t>Semi</a:t>
            </a:r>
            <a:r>
              <a:rPr lang="nb-NO" sz="2000" dirty="0">
                <a:solidFill>
                  <a:schemeClr val="tx1"/>
                </a:solidFill>
              </a:rPr>
              <a:t>-online (NorESM2) </a:t>
            </a:r>
            <a:br>
              <a:rPr lang="nb-NO" sz="2000" dirty="0">
                <a:solidFill>
                  <a:schemeClr val="tx1"/>
                </a:solidFill>
              </a:rPr>
            </a:br>
            <a:endParaRPr lang="nb-NO" sz="10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Pause &amp; </a:t>
            </a:r>
            <a:r>
              <a:rPr lang="nb-NO" sz="1800" i="1" dirty="0" err="1">
                <a:solidFill>
                  <a:schemeClr val="tx1"/>
                </a:solidFill>
              </a:rPr>
              <a:t>resume</a:t>
            </a:r>
            <a:r>
              <a:rPr lang="nb-NO" sz="1800" i="1" dirty="0">
                <a:solidFill>
                  <a:schemeClr val="tx1"/>
                </a:solidFill>
              </a:rPr>
              <a:t> (hack)               </a:t>
            </a:r>
            <a:r>
              <a:rPr lang="nb-NO" sz="1800" dirty="0" err="1">
                <a:solidFill>
                  <a:schemeClr val="tx1"/>
                </a:solidFill>
              </a:rPr>
              <a:t>NorESM</a:t>
            </a:r>
            <a:r>
              <a:rPr lang="nb-NO" sz="1800" dirty="0">
                <a:solidFill>
                  <a:schemeClr val="tx1"/>
                </a:solidFill>
              </a:rPr>
              <a:t> and DA separate </a:t>
            </a:r>
            <a:r>
              <a:rPr lang="nb-NO" sz="1800" dirty="0" err="1">
                <a:solidFill>
                  <a:schemeClr val="tx1"/>
                </a:solidFill>
              </a:rPr>
              <a:t>executables</a:t>
            </a:r>
            <a:r>
              <a:rPr lang="nb-NO" sz="1800" dirty="0">
                <a:solidFill>
                  <a:schemeClr val="tx1"/>
                </a:solidFill>
              </a:rPr>
              <a:t> </a:t>
            </a:r>
            <a:r>
              <a:rPr lang="nb-NO" sz="1800" dirty="0" err="1">
                <a:solidFill>
                  <a:schemeClr val="tx1"/>
                </a:solidFill>
              </a:rPr>
              <a:t>running</a:t>
            </a:r>
            <a:r>
              <a:rPr lang="nb-NO" sz="1800" dirty="0">
                <a:solidFill>
                  <a:schemeClr val="tx1"/>
                </a:solidFill>
              </a:rPr>
              <a:t> in </a:t>
            </a:r>
            <a:r>
              <a:rPr lang="nb-NO" sz="1800" dirty="0" err="1">
                <a:solidFill>
                  <a:schemeClr val="tx1"/>
                </a:solidFill>
              </a:rPr>
              <a:t>parallel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isk-</a:t>
            </a:r>
            <a:r>
              <a:rPr lang="nb-NO" sz="1800" i="1" dirty="0" err="1">
                <a:solidFill>
                  <a:schemeClr val="tx1"/>
                </a:solidFill>
              </a:rPr>
              <a:t>based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i="1" dirty="0" err="1">
                <a:solidFill>
                  <a:schemeClr val="tx1"/>
                </a:solidFill>
              </a:rPr>
              <a:t>communication</a:t>
            </a:r>
            <a:r>
              <a:rPr lang="nb-NO" sz="1800" i="1" dirty="0">
                <a:solidFill>
                  <a:schemeClr val="tx1"/>
                </a:solidFill>
              </a:rPr>
              <a:t> </a:t>
            </a:r>
            <a:r>
              <a:rPr lang="nb-NO" sz="1800" dirty="0">
                <a:solidFill>
                  <a:schemeClr val="tx1"/>
                </a:solidFill>
              </a:rPr>
              <a:t>via </a:t>
            </a:r>
            <a:r>
              <a:rPr lang="nb-NO" sz="1800" dirty="0" err="1">
                <a:solidFill>
                  <a:schemeClr val="tx1"/>
                </a:solidFill>
              </a:rPr>
              <a:t>reading</a:t>
            </a:r>
            <a:r>
              <a:rPr lang="nb-NO" sz="1800" dirty="0">
                <a:solidFill>
                  <a:schemeClr val="tx1"/>
                </a:solidFill>
              </a:rPr>
              <a:t>/</a:t>
            </a:r>
            <a:r>
              <a:rPr lang="nb-NO" sz="1800" dirty="0" err="1">
                <a:solidFill>
                  <a:schemeClr val="tx1"/>
                </a:solidFill>
              </a:rPr>
              <a:t>writing</a:t>
            </a:r>
            <a:r>
              <a:rPr lang="nb-NO" sz="1800" dirty="0">
                <a:solidFill>
                  <a:schemeClr val="tx1"/>
                </a:solidFill>
              </a:rPr>
              <a:t> «</a:t>
            </a:r>
            <a:r>
              <a:rPr lang="nb-NO" sz="1800" dirty="0" err="1">
                <a:solidFill>
                  <a:schemeClr val="tx1"/>
                </a:solidFill>
              </a:rPr>
              <a:t>reduced</a:t>
            </a:r>
            <a:r>
              <a:rPr lang="nb-NO" sz="1800" dirty="0">
                <a:solidFill>
                  <a:schemeClr val="tx1"/>
                </a:solidFill>
              </a:rPr>
              <a:t>» </a:t>
            </a:r>
            <a:r>
              <a:rPr lang="nb-NO" sz="1800" dirty="0" err="1">
                <a:solidFill>
                  <a:schemeClr val="tx1"/>
                </a:solidFill>
              </a:rPr>
              <a:t>restart</a:t>
            </a:r>
            <a:r>
              <a:rPr lang="nb-NO" sz="1800" dirty="0">
                <a:solidFill>
                  <a:schemeClr val="tx1"/>
                </a:solidFill>
              </a:rPr>
              <a:t> files</a:t>
            </a:r>
          </a:p>
          <a:p>
            <a:pPr>
              <a:buFont typeface="Arial" pitchFamily="34" charset="0"/>
              <a:buChar char="•"/>
            </a:pPr>
            <a:endParaRPr lang="nb-NO" sz="5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Components: </a:t>
            </a:r>
            <a:r>
              <a:rPr lang="nb-NO" sz="1800" i="1" dirty="0" err="1">
                <a:solidFill>
                  <a:schemeClr val="tx1"/>
                </a:solidFill>
              </a:rPr>
              <a:t>ocn</a:t>
            </a:r>
            <a:r>
              <a:rPr lang="nb-NO" sz="1800" i="1" dirty="0">
                <a:solidFill>
                  <a:schemeClr val="tx1"/>
                </a:solidFill>
              </a:rPr>
              <a:t>, </a:t>
            </a:r>
            <a:r>
              <a:rPr lang="nb-NO" sz="1800" i="1" dirty="0" err="1">
                <a:solidFill>
                  <a:schemeClr val="tx1"/>
                </a:solidFill>
              </a:rPr>
              <a:t>lnd</a:t>
            </a:r>
            <a:r>
              <a:rPr lang="nb-NO" sz="1800" i="1" dirty="0">
                <a:solidFill>
                  <a:schemeClr val="tx1"/>
                </a:solidFill>
              </a:rPr>
              <a:t>,(</a:t>
            </a:r>
            <a:r>
              <a:rPr lang="nb-NO" sz="1800" i="1" dirty="0" err="1">
                <a:solidFill>
                  <a:schemeClr val="tx1"/>
                </a:solidFill>
              </a:rPr>
              <a:t>ice,atm</a:t>
            </a:r>
            <a:r>
              <a:rPr lang="nb-NO" sz="1800" i="1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500" i="1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nb-NO" sz="1800" i="1" dirty="0">
                <a:solidFill>
                  <a:schemeClr val="tx1"/>
                </a:solidFill>
              </a:rPr>
              <a:t>DA </a:t>
            </a:r>
            <a:r>
              <a:rPr lang="nb-NO" sz="1800" i="1" dirty="0" err="1">
                <a:solidFill>
                  <a:schemeClr val="tx1"/>
                </a:solidFill>
              </a:rPr>
              <a:t>freq</a:t>
            </a:r>
            <a:r>
              <a:rPr lang="nb-NO" sz="1800" i="1" dirty="0">
                <a:solidFill>
                  <a:schemeClr val="tx1"/>
                </a:solidFill>
              </a:rPr>
              <a:t>.: </a:t>
            </a:r>
            <a:r>
              <a:rPr lang="nb-NO" sz="1800" dirty="0">
                <a:solidFill>
                  <a:schemeClr val="tx1"/>
                </a:solidFill>
              </a:rPr>
              <a:t>(sub-)</a:t>
            </a:r>
            <a:r>
              <a:rPr lang="nb-NO" sz="1800" dirty="0" err="1">
                <a:solidFill>
                  <a:schemeClr val="tx1"/>
                </a:solidFill>
              </a:rPr>
              <a:t>daily</a:t>
            </a:r>
            <a:r>
              <a:rPr lang="nb-NO" sz="1800" dirty="0">
                <a:solidFill>
                  <a:schemeClr val="tx1"/>
                </a:solidFill>
              </a:rPr>
              <a:t>, </a:t>
            </a:r>
            <a:r>
              <a:rPr lang="nb-NO" sz="1800" dirty="0" err="1">
                <a:solidFill>
                  <a:schemeClr val="tx1"/>
                </a:solidFill>
              </a:rPr>
              <a:t>monthly</a:t>
            </a: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nb-NO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18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CC911C-A106-24AB-014E-7F7EBFD62159}"/>
              </a:ext>
            </a:extLst>
          </p:cNvPr>
          <p:cNvSpPr/>
          <p:nvPr/>
        </p:nvSpPr>
        <p:spPr>
          <a:xfrm>
            <a:off x="339864" y="1165254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44C8E9-16EA-76B3-9176-861EF36F8E52}"/>
              </a:ext>
            </a:extLst>
          </p:cNvPr>
          <p:cNvSpPr/>
          <p:nvPr/>
        </p:nvSpPr>
        <p:spPr>
          <a:xfrm>
            <a:off x="4175741" y="1168780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glow rad="148600">
              <a:srgbClr val="0070C0">
                <a:alpha val="40000"/>
              </a:srgb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37F071-8E50-E7CE-9AAD-DFD0FBE35D93}"/>
              </a:ext>
            </a:extLst>
          </p:cNvPr>
          <p:cNvSpPr/>
          <p:nvPr/>
        </p:nvSpPr>
        <p:spPr>
          <a:xfrm>
            <a:off x="8106196" y="1165253"/>
            <a:ext cx="3673785" cy="5124579"/>
          </a:xfrm>
          <a:prstGeom prst="rect">
            <a:avLst/>
          </a:prstGeom>
          <a:noFill/>
          <a:ln w="12700" cap="rnd"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905026"/>
                      <a:gd name="connsiteY0" fmla="*/ 0 h 4862351"/>
                      <a:gd name="connsiteX1" fmla="*/ 3905026 w 3905026"/>
                      <a:gd name="connsiteY1" fmla="*/ 0 h 4862351"/>
                      <a:gd name="connsiteX2" fmla="*/ 3905026 w 3905026"/>
                      <a:gd name="connsiteY2" fmla="*/ 4862351 h 4862351"/>
                      <a:gd name="connsiteX3" fmla="*/ 0 w 3905026"/>
                      <a:gd name="connsiteY3" fmla="*/ 4862351 h 4862351"/>
                      <a:gd name="connsiteX4" fmla="*/ 0 w 3905026"/>
                      <a:gd name="connsiteY4" fmla="*/ 0 h 486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05026" h="4862351" extrusionOk="0">
                        <a:moveTo>
                          <a:pt x="0" y="0"/>
                        </a:moveTo>
                        <a:cubicBezTo>
                          <a:pt x="1697991" y="118645"/>
                          <a:pt x="3158916" y="116012"/>
                          <a:pt x="3905026" y="0"/>
                        </a:cubicBezTo>
                        <a:cubicBezTo>
                          <a:pt x="3772144" y="845083"/>
                          <a:pt x="3989977" y="3866116"/>
                          <a:pt x="3905026" y="4862351"/>
                        </a:cubicBezTo>
                        <a:cubicBezTo>
                          <a:pt x="3407221" y="4996951"/>
                          <a:pt x="1242864" y="4705155"/>
                          <a:pt x="0" y="4862351"/>
                        </a:cubicBezTo>
                        <a:cubicBezTo>
                          <a:pt x="-20187" y="4059868"/>
                          <a:pt x="-152480" y="59915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FE17A4-9C5A-679E-C2B9-E23B0E95979D}"/>
              </a:ext>
            </a:extLst>
          </p:cNvPr>
          <p:cNvSpPr txBox="1"/>
          <p:nvPr/>
        </p:nvSpPr>
        <p:spPr>
          <a:xfrm>
            <a:off x="4698963" y="5022137"/>
            <a:ext cx="28200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2000" dirty="0">
                <a:solidFill>
                  <a:srgbClr val="C00000"/>
                </a:solidFill>
              </a:rPr>
              <a:t>Results on next slides!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71B768-0F9B-0966-53B3-99724B9788F8}"/>
              </a:ext>
            </a:extLst>
          </p:cNvPr>
          <p:cNvSpPr txBox="1"/>
          <p:nvPr/>
        </p:nvSpPr>
        <p:spPr>
          <a:xfrm rot="2113757">
            <a:off x="7045551" y="1618989"/>
            <a:ext cx="752559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b="1" dirty="0">
                <a:solidFill>
                  <a:srgbClr val="00B050"/>
                </a:solidFill>
              </a:rPr>
              <a:t>NEW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527C71-0E6B-EDBC-1CE5-CFB4E27EBE88}"/>
              </a:ext>
            </a:extLst>
          </p:cNvPr>
          <p:cNvSpPr txBox="1"/>
          <p:nvPr/>
        </p:nvSpPr>
        <p:spPr>
          <a:xfrm rot="2113757">
            <a:off x="10739860" y="1504081"/>
            <a:ext cx="11579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1600" b="1" dirty="0">
                <a:solidFill>
                  <a:srgbClr val="00B050"/>
                </a:solidFill>
              </a:rPr>
              <a:t>COMING SOON</a:t>
            </a:r>
          </a:p>
        </p:txBody>
      </p:sp>
    </p:spTree>
    <p:extLst>
      <p:ext uri="{BB962C8B-B14F-4D97-AF65-F5344CB8AC3E}">
        <p14:creationId xmlns:p14="http://schemas.microsoft.com/office/powerpoint/2010/main" val="18228712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0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4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latest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tat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820BFB9-D04E-7AA1-9F18-D0B745168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8429" y="1843227"/>
            <a:ext cx="6814434" cy="4941945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2012C9F-A1B1-89F9-6A2A-4F7A4852528A}"/>
              </a:ext>
            </a:extLst>
          </p:cNvPr>
          <p:cNvSpPr/>
          <p:nvPr/>
        </p:nvSpPr>
        <p:spPr>
          <a:xfrm>
            <a:off x="6889536" y="3339288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0289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1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5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ll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237796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2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6: </a:t>
            </a:r>
            <a:r>
              <a:rPr lang="nb-NO" sz="2200" dirty="0" err="1">
                <a:solidFill>
                  <a:schemeClr val="tx1"/>
                </a:solidFill>
              </a:rPr>
              <a:t>commi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add . </a:t>
            </a: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t status</a:t>
            </a: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ommit –m </a:t>
            </a:r>
            <a:r>
              <a:rPr lang="en-NO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'my commit message'</a:t>
            </a: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418101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8: push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push</a:t>
            </a:r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224956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9: </a:t>
            </a:r>
            <a:r>
              <a:rPr lang="nb-NO" sz="2200" dirty="0" err="1">
                <a:solidFill>
                  <a:schemeClr val="tx1"/>
                </a:solidFill>
              </a:rPr>
              <a:t>issu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for applying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to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8EB82B9-4B72-D0AE-72A6-796B6FD4DA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0842" y="1836756"/>
            <a:ext cx="6890124" cy="458417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4900053" y="3553803"/>
            <a:ext cx="2601414" cy="234848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6366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892BB564-5540-8267-4C57-C2E279666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5780" y="2085885"/>
            <a:ext cx="6037126" cy="4113669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86DC6EA-46CF-554C-7D29-BD325B46F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86" y="2085886"/>
            <a:ext cx="5600180" cy="3921026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5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0: </a:t>
            </a:r>
            <a:r>
              <a:rPr lang="nb-NO" sz="2200" dirty="0" err="1">
                <a:solidFill>
                  <a:schemeClr val="tx1"/>
                </a:solidFill>
              </a:rPr>
              <a:t>merg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(</a:t>
            </a:r>
            <a:r>
              <a:rPr lang="nb-NO" sz="2200" dirty="0" err="1">
                <a:solidFill>
                  <a:schemeClr val="tx1"/>
                </a:solidFill>
              </a:rPr>
              <a:t>only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maintainers</a:t>
            </a:r>
            <a:r>
              <a:rPr lang="nb-NO" sz="2200" dirty="0">
                <a:solidFill>
                  <a:schemeClr val="tx1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996921" y="2277534"/>
            <a:ext cx="1119746" cy="48833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F3C7BD-54F2-0D75-DD16-5C4A9E3A8F50}"/>
              </a:ext>
            </a:extLst>
          </p:cNvPr>
          <p:cNvSpPr/>
          <p:nvPr/>
        </p:nvSpPr>
        <p:spPr>
          <a:xfrm>
            <a:off x="6297054" y="5694286"/>
            <a:ext cx="1424546" cy="5052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2871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6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Current</a:t>
            </a:r>
            <a:r>
              <a:rPr lang="nb-NO" sz="2200" dirty="0"/>
              <a:t> statu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ready</a:t>
            </a:r>
            <a:r>
              <a:rPr lang="nb-NO" sz="2200" dirty="0">
                <a:solidFill>
                  <a:schemeClr val="tx1"/>
                </a:solidFill>
              </a:rPr>
              <a:t>-to-</a:t>
            </a:r>
            <a:r>
              <a:rPr lang="nb-NO" sz="2200" dirty="0" err="1">
                <a:solidFill>
                  <a:schemeClr val="tx1"/>
                </a:solidFill>
              </a:rPr>
              <a:t>use</a:t>
            </a:r>
            <a:r>
              <a:rPr lang="nb-NO" sz="2200" dirty="0">
                <a:solidFill>
                  <a:schemeClr val="tx1"/>
                </a:solidFill>
              </a:rPr>
              <a:t> NorESM2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ily</a:t>
            </a:r>
            <a:r>
              <a:rPr lang="nb-NO" sz="2200" dirty="0">
                <a:solidFill>
                  <a:schemeClr val="tx1"/>
                </a:solidFill>
              </a:rPr>
              <a:t> SST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monthly</a:t>
            </a:r>
            <a:r>
              <a:rPr lang="nb-NO" sz="2200" dirty="0">
                <a:solidFill>
                  <a:schemeClr val="tx1"/>
                </a:solidFill>
              </a:rPr>
              <a:t> T/S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initial </a:t>
            </a:r>
            <a:r>
              <a:rPr lang="nb-NO" sz="2200" dirty="0" err="1">
                <a:solidFill>
                  <a:schemeClr val="tx1"/>
                </a:solidFill>
              </a:rPr>
              <a:t>condition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vailable</a:t>
            </a:r>
            <a:r>
              <a:rPr lang="nb-NO" sz="2200" dirty="0">
                <a:solidFill>
                  <a:schemeClr val="tx1"/>
                </a:solidFill>
              </a:rPr>
              <a:t> for 10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years</a:t>
            </a:r>
            <a:r>
              <a:rPr lang="nb-NO" sz="2200" dirty="0">
                <a:solidFill>
                  <a:schemeClr val="tx1"/>
                </a:solidFill>
              </a:rPr>
              <a:t> 1975, 1985, 1996, 2015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ust </a:t>
            </a:r>
            <a:r>
              <a:rPr lang="nb-NO" sz="2200" dirty="0" err="1">
                <a:solidFill>
                  <a:schemeClr val="tx1"/>
                </a:solidFill>
              </a:rPr>
              <a:t>switch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 to 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in 2015</a:t>
            </a: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dirty="0" err="1">
                <a:solidFill>
                  <a:schemeClr val="tx1"/>
                </a:solidFill>
              </a:rPr>
              <a:t>Coming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oon</a:t>
            </a: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1000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more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members</a:t>
            </a:r>
            <a:r>
              <a:rPr lang="nb-NO" sz="2200" dirty="0">
                <a:solidFill>
                  <a:schemeClr val="tx1"/>
                </a:solidFill>
              </a:rPr>
              <a:t> and </a:t>
            </a:r>
            <a:r>
              <a:rPr lang="nb-NO" sz="2200" dirty="0" err="1">
                <a:solidFill>
                  <a:schemeClr val="tx1"/>
                </a:solidFill>
              </a:rPr>
              <a:t>restar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ates</a:t>
            </a:r>
            <a:r>
              <a:rPr lang="nb-NO" sz="2200" dirty="0">
                <a:solidFill>
                  <a:schemeClr val="tx1"/>
                </a:solidFill>
              </a:rPr>
              <a:t> for NorESM2-L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combined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historical</a:t>
            </a:r>
            <a:r>
              <a:rPr lang="nb-NO" sz="2200" dirty="0">
                <a:solidFill>
                  <a:schemeClr val="tx1"/>
                </a:solidFill>
              </a:rPr>
              <a:t>-scenario </a:t>
            </a:r>
            <a:r>
              <a:rPr lang="nb-NO" sz="2200" dirty="0" err="1">
                <a:solidFill>
                  <a:schemeClr val="tx1"/>
                </a:solidFill>
              </a:rPr>
              <a:t>compse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a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allows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running</a:t>
            </a:r>
            <a:r>
              <a:rPr lang="nb-NO" sz="2200" dirty="0">
                <a:solidFill>
                  <a:schemeClr val="tx1"/>
                </a:solidFill>
              </a:rPr>
              <a:t> 1850-210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how</a:t>
            </a:r>
            <a:r>
              <a:rPr lang="nb-NO" sz="2200" dirty="0">
                <a:solidFill>
                  <a:schemeClr val="tx1"/>
                </a:solidFill>
              </a:rPr>
              <a:t>-to-guide for </a:t>
            </a:r>
            <a:r>
              <a:rPr lang="nb-NO" sz="2200" dirty="0" err="1">
                <a:solidFill>
                  <a:schemeClr val="tx1"/>
                </a:solidFill>
              </a:rPr>
              <a:t>contributing</a:t>
            </a:r>
            <a:r>
              <a:rPr lang="nb-NO" sz="2200" dirty="0">
                <a:solidFill>
                  <a:schemeClr val="tx1"/>
                </a:solidFill>
              </a:rPr>
              <a:t> via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2200" dirty="0">
                <a:solidFill>
                  <a:schemeClr val="tx1"/>
                </a:solidFill>
              </a:rPr>
              <a:t>«full-online» </a:t>
            </a:r>
            <a:r>
              <a:rPr lang="nb-NO" sz="2200" dirty="0" err="1">
                <a:solidFill>
                  <a:schemeClr val="tx1"/>
                </a:solidFill>
              </a:rPr>
              <a:t>assimilation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etup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developed</a:t>
            </a:r>
            <a:r>
              <a:rPr lang="nb-NO" sz="2200" dirty="0">
                <a:solidFill>
                  <a:schemeClr val="tx1"/>
                </a:solidFill>
              </a:rPr>
              <a:t> by Ping-Gin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30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 err="1"/>
              <a:t>Daily</a:t>
            </a:r>
            <a:r>
              <a:rPr lang="nb-NO" sz="2200" dirty="0"/>
              <a:t> </a:t>
            </a:r>
            <a:r>
              <a:rPr lang="nb-NO" sz="2200" dirty="0" err="1"/>
              <a:t>ocean</a:t>
            </a:r>
            <a:r>
              <a:rPr lang="nb-NO" sz="2200" dirty="0"/>
              <a:t> data </a:t>
            </a:r>
            <a:r>
              <a:rPr lang="nb-NO" sz="2200" dirty="0" err="1"/>
              <a:t>assimilation</a:t>
            </a:r>
            <a:r>
              <a:rPr lang="nb-NO" sz="2200" dirty="0"/>
              <a:t> </a:t>
            </a:r>
            <a:r>
              <a:rPr lang="nb-NO" sz="2200" dirty="0" err="1"/>
              <a:t>with</a:t>
            </a:r>
            <a:r>
              <a:rPr lang="nb-NO" sz="2200" dirty="0"/>
              <a:t> NorESM2 </a:t>
            </a:r>
            <a:r>
              <a:rPr lang="nb-NO" sz="2200" i="1" dirty="0"/>
              <a:t>(</a:t>
            </a:r>
            <a:r>
              <a:rPr lang="nb-NO" sz="2200" i="1" dirty="0" err="1"/>
              <a:t>preliminary</a:t>
            </a:r>
            <a:r>
              <a:rPr lang="nb-NO" sz="2200" i="1" dirty="0"/>
              <a:t> </a:t>
            </a:r>
            <a:r>
              <a:rPr lang="nb-NO" sz="2200" i="1" dirty="0" err="1"/>
              <a:t>results</a:t>
            </a:r>
            <a:r>
              <a:rPr lang="nb-NO" sz="2200" i="1" dirty="0"/>
              <a:t>)</a:t>
            </a:r>
            <a:r>
              <a:rPr lang="nb-NO" sz="2200" dirty="0"/>
              <a:t>   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1766395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b-NO" sz="2200" b="1" dirty="0">
                <a:solidFill>
                  <a:schemeClr val="tx1"/>
                </a:solidFill>
              </a:rPr>
              <a:t>Test </a:t>
            </a:r>
            <a:r>
              <a:rPr lang="nb-NO" sz="2200" b="1" dirty="0" err="1">
                <a:solidFill>
                  <a:schemeClr val="tx1"/>
                </a:solidFill>
              </a:rPr>
              <a:t>using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dai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satellite</a:t>
            </a:r>
            <a:r>
              <a:rPr lang="nb-NO" sz="2200" b="1" dirty="0">
                <a:solidFill>
                  <a:schemeClr val="tx1"/>
                </a:solidFill>
              </a:rPr>
              <a:t> SSTs and </a:t>
            </a:r>
            <a:r>
              <a:rPr lang="nb-NO" sz="2200" b="1" dirty="0" err="1">
                <a:solidFill>
                  <a:schemeClr val="tx1"/>
                </a:solidFill>
              </a:rPr>
              <a:t>monthly</a:t>
            </a:r>
            <a:r>
              <a:rPr lang="nb-NO" sz="2200" b="1" dirty="0">
                <a:solidFill>
                  <a:schemeClr val="tx1"/>
                </a:solidFill>
              </a:rPr>
              <a:t> </a:t>
            </a:r>
            <a:r>
              <a:rPr lang="nb-NO" sz="2200" b="1" dirty="0" err="1">
                <a:solidFill>
                  <a:schemeClr val="tx1"/>
                </a:solidFill>
              </a:rPr>
              <a:t>assim</a:t>
            </a:r>
            <a:r>
              <a:rPr lang="nb-NO" sz="2200" b="1" dirty="0">
                <a:solidFill>
                  <a:schemeClr val="tx1"/>
                </a:solidFill>
              </a:rPr>
              <a:t>. </a:t>
            </a:r>
            <a:r>
              <a:rPr lang="nb-NO" sz="2200" b="1" dirty="0" err="1">
                <a:solidFill>
                  <a:schemeClr val="tx1"/>
                </a:solidFill>
              </a:rPr>
              <a:t>of</a:t>
            </a:r>
            <a:r>
              <a:rPr lang="nb-NO" sz="2200" b="1" dirty="0">
                <a:solidFill>
                  <a:schemeClr val="tx1"/>
                </a:solidFill>
              </a:rPr>
              <a:t> T/S </a:t>
            </a:r>
            <a:r>
              <a:rPr lang="nb-NO" sz="2200" b="1" dirty="0" err="1">
                <a:solidFill>
                  <a:schemeClr val="tx1"/>
                </a:solidFill>
              </a:rPr>
              <a:t>profiles</a:t>
            </a:r>
            <a:endParaRPr lang="nb-NO" sz="2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Three 10-member ensembles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NorESM2-LM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chemeClr val="tx1"/>
                </a:solidFill>
              </a:rPr>
              <a:t>FREE (</a:t>
            </a:r>
            <a:r>
              <a:rPr lang="nb-NO" sz="2000" dirty="0" err="1">
                <a:solidFill>
                  <a:schemeClr val="tx1"/>
                </a:solidFill>
              </a:rPr>
              <a:t>no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)  			       </a:t>
            </a:r>
            <a:r>
              <a:rPr lang="en-NO" sz="2000" dirty="0"/>
              <a:t>800 cpu-h/sim-yr, 4 sim-yrs/d, 128 pes/member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00B050"/>
                </a:solidFill>
              </a:rPr>
              <a:t>MONTHLY (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SST + </a:t>
            </a:r>
            <a:r>
              <a:rPr lang="nb-NO" sz="2000" dirty="0" err="1">
                <a:solidFill>
                  <a:srgbClr val="00B050"/>
                </a:solidFill>
              </a:rPr>
              <a:t>monthly</a:t>
            </a:r>
            <a:r>
              <a:rPr lang="nb-NO" sz="2000" dirty="0">
                <a:solidFill>
                  <a:srgbClr val="00B050"/>
                </a:solidFill>
              </a:rPr>
              <a:t> T/S)  </a:t>
            </a:r>
          </a:p>
          <a:p>
            <a:pPr lvl="1">
              <a:lnSpc>
                <a:spcPct val="150000"/>
              </a:lnSpc>
            </a:pPr>
            <a:r>
              <a:rPr lang="nb-NO" sz="2000" dirty="0">
                <a:solidFill>
                  <a:srgbClr val="C00000"/>
                </a:solidFill>
              </a:rPr>
              <a:t>DAILY (</a:t>
            </a:r>
            <a:r>
              <a:rPr lang="nb-NO" sz="2000" dirty="0" err="1">
                <a:solidFill>
                  <a:srgbClr val="C00000"/>
                </a:solidFill>
              </a:rPr>
              <a:t>daily</a:t>
            </a:r>
            <a:r>
              <a:rPr lang="nb-NO" sz="2000" dirty="0">
                <a:solidFill>
                  <a:srgbClr val="C00000"/>
                </a:solidFill>
              </a:rPr>
              <a:t> SST + </a:t>
            </a:r>
            <a:r>
              <a:rPr lang="nb-NO" sz="2000" dirty="0" err="1">
                <a:solidFill>
                  <a:srgbClr val="C00000"/>
                </a:solidFill>
              </a:rPr>
              <a:t>monthly</a:t>
            </a:r>
            <a:r>
              <a:rPr lang="nb-NO" sz="2000" dirty="0">
                <a:solidFill>
                  <a:srgbClr val="C00000"/>
                </a:solidFill>
              </a:rPr>
              <a:t> T/S) 			      </a:t>
            </a:r>
            <a:r>
              <a:rPr lang="nb-NO" sz="2000" dirty="0" err="1">
                <a:solidFill>
                  <a:schemeClr val="bg1">
                    <a:lumMod val="50000"/>
                  </a:schemeClr>
                </a:solidFill>
              </a:rPr>
              <a:t>daily</a:t>
            </a:r>
            <a:r>
              <a:rPr lang="nb-NO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2000" dirty="0" err="1">
                <a:solidFill>
                  <a:schemeClr val="bg1">
                    <a:lumMod val="50000"/>
                  </a:schemeClr>
                </a:solidFill>
              </a:rPr>
              <a:t>assimilation</a:t>
            </a:r>
            <a:r>
              <a:rPr lang="nb-NO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2000" dirty="0" err="1">
                <a:solidFill>
                  <a:schemeClr val="bg1">
                    <a:lumMod val="50000"/>
                  </a:schemeClr>
                </a:solidFill>
              </a:rPr>
              <a:t>increases</a:t>
            </a:r>
            <a:r>
              <a:rPr lang="nb-NO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2000" dirty="0" err="1">
                <a:solidFill>
                  <a:schemeClr val="bg1">
                    <a:lumMod val="50000"/>
                  </a:schemeClr>
                </a:solidFill>
              </a:rPr>
              <a:t>cost</a:t>
            </a:r>
            <a:r>
              <a:rPr lang="nb-NO" sz="2000" dirty="0">
                <a:solidFill>
                  <a:schemeClr val="bg1">
                    <a:lumMod val="50000"/>
                  </a:schemeClr>
                </a:solidFill>
              </a:rPr>
              <a:t> by 50%</a:t>
            </a: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>
                <a:solidFill>
                  <a:schemeClr val="tx1"/>
                </a:solidFill>
              </a:rPr>
              <a:t>1996-2003 </a:t>
            </a:r>
            <a:r>
              <a:rPr lang="nb-NO" sz="2000" dirty="0" err="1">
                <a:solidFill>
                  <a:schemeClr val="tx1"/>
                </a:solidFill>
              </a:rPr>
              <a:t>coverage</a:t>
            </a:r>
            <a:r>
              <a:rPr lang="nb-NO" sz="2000" dirty="0">
                <a:solidFill>
                  <a:schemeClr val="tx1"/>
                </a:solidFill>
              </a:rPr>
              <a:t> (</a:t>
            </a:r>
            <a:r>
              <a:rPr lang="nb-NO" sz="2000" dirty="0" err="1">
                <a:solidFill>
                  <a:schemeClr val="tx1"/>
                </a:solidFill>
              </a:rPr>
              <a:t>will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only</a:t>
            </a:r>
            <a:r>
              <a:rPr lang="nb-NO" sz="2000" dirty="0">
                <a:solidFill>
                  <a:schemeClr val="tx1"/>
                </a:solidFill>
              </a:rPr>
              <a:t> show </a:t>
            </a:r>
            <a:r>
              <a:rPr lang="nb-NO" sz="2000" dirty="0" err="1">
                <a:solidFill>
                  <a:schemeClr val="tx1"/>
                </a:solidFill>
              </a:rPr>
              <a:t>results</a:t>
            </a:r>
            <a:r>
              <a:rPr lang="nb-NO" sz="2000" dirty="0">
                <a:solidFill>
                  <a:schemeClr val="tx1"/>
                </a:solidFill>
              </a:rPr>
              <a:t> from first </a:t>
            </a:r>
            <a:r>
              <a:rPr lang="nb-NO" sz="2000" dirty="0" err="1">
                <a:solidFill>
                  <a:schemeClr val="tx1"/>
                </a:solidFill>
              </a:rPr>
              <a:t>year</a:t>
            </a:r>
            <a:r>
              <a:rPr lang="nb-NO" sz="2000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  <a:p>
            <a:r>
              <a:rPr lang="nb-NO" sz="2000" dirty="0" err="1">
                <a:solidFill>
                  <a:schemeClr val="tx1"/>
                </a:solidFill>
              </a:rPr>
              <a:t>EnKF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nomaly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assimilation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with</a:t>
            </a:r>
            <a:r>
              <a:rPr lang="nb-NO" sz="2000" dirty="0">
                <a:solidFill>
                  <a:schemeClr val="tx1"/>
                </a:solidFill>
              </a:rPr>
              <a:t> 1980-2010 </a:t>
            </a:r>
            <a:r>
              <a:rPr lang="nb-NO" sz="2000" dirty="0" err="1">
                <a:solidFill>
                  <a:schemeClr val="tx1"/>
                </a:solidFill>
              </a:rPr>
              <a:t>reference</a:t>
            </a:r>
            <a:r>
              <a:rPr lang="nb-NO" sz="2000" dirty="0">
                <a:solidFill>
                  <a:schemeClr val="tx1"/>
                </a:solidFill>
              </a:rPr>
              <a:t> </a:t>
            </a:r>
            <a:r>
              <a:rPr lang="nb-NO" sz="2000" dirty="0" err="1">
                <a:solidFill>
                  <a:schemeClr val="tx1"/>
                </a:solidFill>
              </a:rPr>
              <a:t>period</a:t>
            </a:r>
            <a:endParaRPr lang="nb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39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free ru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50209D-E030-C608-71AD-58795D9566C7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947351" y="1459419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 FREE (member 1)</a:t>
            </a:r>
          </a:p>
        </p:txBody>
      </p:sp>
      <p:pic>
        <p:nvPicPr>
          <p:cNvPr id="10" name="anim_free_slow.mp4">
            <a:hlinkClick r:id="" action="ppaction://media"/>
            <a:extLst>
              <a:ext uri="{FF2B5EF4-FFF2-40B4-BE49-F238E27FC236}">
                <a16:creationId xmlns:a16="http://schemas.microsoft.com/office/drawing/2014/main" id="{9B7286CC-B7AF-6671-04B8-BED64FF071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C7E06C5-7309-9F30-E927-48C0D958F9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414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monthly assimilation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C56E3-D0BB-0EEC-9F49-AA8CE53E0784}"/>
              </a:ext>
            </a:extLst>
          </p:cNvPr>
          <p:cNvSpPr txBox="1"/>
          <p:nvPr/>
        </p:nvSpPr>
        <p:spPr>
          <a:xfrm>
            <a:off x="7480588" y="1461645"/>
            <a:ext cx="3151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00B050"/>
                </a:solidFill>
              </a:rPr>
              <a:t>MONTHLY (ensemble mean)</a:t>
            </a:r>
          </a:p>
        </p:txBody>
      </p:sp>
      <p:pic>
        <p:nvPicPr>
          <p:cNvPr id="3" name="anim_odamon_slow.mp4">
            <a:hlinkClick r:id="" action="ppaction://media"/>
            <a:extLst>
              <a:ext uri="{FF2B5EF4-FFF2-40B4-BE49-F238E27FC236}">
                <a16:creationId xmlns:a16="http://schemas.microsoft.com/office/drawing/2014/main" id="{7D5D441A-9F68-1922-7382-06AB9CF6F51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F502EF-B584-AF23-E5E5-212D8C05D8EE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FD637CFE-147D-94D6-C87D-169199DE2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471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</a:t>
            </a:r>
            <a:r>
              <a:rPr lang="en-US" sz="2200" dirty="0" err="1"/>
              <a:t>obs</a:t>
            </a:r>
            <a:r>
              <a:rPr lang="en-US" sz="2200" dirty="0"/>
              <a:t> vs daily assimilation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pic>
        <p:nvPicPr>
          <p:cNvPr id="5" name="anim_odaday_slow.mp4">
            <a:hlinkClick r:id="" action="ppaction://media"/>
            <a:extLst>
              <a:ext uri="{FF2B5EF4-FFF2-40B4-BE49-F238E27FC236}">
                <a16:creationId xmlns:a16="http://schemas.microsoft.com/office/drawing/2014/main" id="{C1F39746-06A6-6444-E8DA-9B2E15ED673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814513"/>
            <a:ext cx="12192000" cy="32273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D4F1FC-1C8A-6F7B-7EF8-4B6C88C4C436}"/>
              </a:ext>
            </a:extLst>
          </p:cNvPr>
          <p:cNvSpPr txBox="1"/>
          <p:nvPr/>
        </p:nvSpPr>
        <p:spPr>
          <a:xfrm>
            <a:off x="7480588" y="1461645"/>
            <a:ext cx="2689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>
                <a:solidFill>
                  <a:srgbClr val="C00000"/>
                </a:solidFill>
              </a:rPr>
              <a:t>DAILY (ensemble mea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DF3FAE-BB16-46FB-46DB-D67D1E0BBC31}"/>
              </a:ext>
            </a:extLst>
          </p:cNvPr>
          <p:cNvSpPr txBox="1"/>
          <p:nvPr/>
        </p:nvSpPr>
        <p:spPr>
          <a:xfrm>
            <a:off x="2771482" y="1480989"/>
            <a:ext cx="937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OISST 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C89D5B0D-E810-D92E-AE95-38652932A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5176764"/>
            <a:ext cx="55245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34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5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US" sz="2200" dirty="0"/>
              <a:t>Assimilation of daily SST and monthly T/S observations – global statistics (spatial averages)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B32A1207-1411-A954-C5D8-68ED741B8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1588"/>
            <a:ext cx="12192000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/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𝐴𝐶𝐶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𝑝𝑎𝑡𝑡𝑒𝑟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𝑐𝑜𝑟𝑟𝑒𝑙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NO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B929D64-593D-5745-58A3-94BE5C9FF9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77" y="5922556"/>
                <a:ext cx="4586768" cy="276999"/>
              </a:xfrm>
              <a:prstGeom prst="rect">
                <a:avLst/>
              </a:prstGeom>
              <a:blipFill>
                <a:blip r:embed="rId4"/>
                <a:stretch>
                  <a:fillRect l="-1653" t="-4348" b="-39130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/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nb-NO" b="0" i="1" smtClean="0">
                        <a:latin typeface="Cambria Math" panose="02040503050406030204" pitchFamily="18" charset="0"/>
                      </a:rPr>
                      <m:t>𝑅𝑀𝑆𝐸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𝑟𝑜𝑜𝑡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𝑠𝑞𝑢𝑎𝑟𝑒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𝑑𝑒𝑣𝑖𝑎𝑡𝑖𝑜𝑛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𝑒𝑎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𝑤𝑒𝑖𝑔h𝑡𝑒𝑑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nb-NO" b="0" dirty="0"/>
                  <a:t> </a:t>
                </a:r>
                <a:endParaRPr lang="nb-NO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nb-NO">
                              <a:latin typeface="Cambria Math" panose="02040503050406030204" pitchFamily="18" charset="0"/>
                            </a:rPr>
                            <m:t>ERR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</a:rPr>
                            <m:t>𝑂𝐵𝑆</m:t>
                          </m:r>
                        </m:sub>
                      </m:sSub>
                      <m:r>
                        <a:rPr lang="nb-NO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𝑜𝑏𝑠𝑒𝑟𝑣𝑎𝑡𝑖𝑜𝑛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𝑒𝑟𝑟𝑜𝑟</m:t>
                      </m:r>
                      <m:d>
                        <m:dPr>
                          <m:ctrlPr>
                            <a:rPr lang="nb-NO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𝑎𝑟𝑒𝑎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nb-NO" i="1">
                              <a:latin typeface="Cambria Math" panose="02040503050406030204" pitchFamily="18" charset="0"/>
                            </a:rPr>
                            <m:t>𝑤𝑒𝑖𝑔h𝑡𝑒𝑑</m:t>
                          </m:r>
                        </m:e>
                      </m:d>
                    </m:oMath>
                  </m:oMathPara>
                </a14:m>
                <a:endParaRPr lang="nb-NO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NO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NO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nb-NO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𝑁𝑆</m:t>
                          </m:r>
                        </m:sub>
                      </m:sSub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𝑠𝑒𝑚𝑏𝑙𝑒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𝑑</m:t>
                      </m:r>
                      <m:r>
                        <a:rPr lang="nb-NO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(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𝑎𝑟𝑒𝑎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𝑤𝑒𝑖𝑔h𝑡𝑒𝑑</m:t>
                      </m:r>
                      <m:r>
                        <a:rPr lang="nb-NO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nb-NO" b="0" dirty="0">
                  <a:ea typeface="Cambria Math" panose="02040503050406030204" pitchFamily="18" charset="0"/>
                </a:endParaRPr>
              </a:p>
              <a:p>
                <a:endParaRPr lang="en-NO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0AE1AD7-34AA-330D-71E3-CEDF2F453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4056" y="5666504"/>
                <a:ext cx="5638338" cy="1384995"/>
              </a:xfrm>
              <a:prstGeom prst="rect">
                <a:avLst/>
              </a:prstGeom>
              <a:blipFill>
                <a:blip r:embed="rId5"/>
                <a:stretch>
                  <a:fillRect l="-1348" t="-1818"/>
                </a:stretch>
              </a:blipFill>
            </p:spPr>
            <p:txBody>
              <a:bodyPr/>
              <a:lstStyle/>
              <a:p>
                <a:r>
                  <a:rPr lang="en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60203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104213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orts </a:t>
            </a:r>
            <a:r>
              <a:rPr lang="en-NO" b="1" dirty="0"/>
              <a:t>multiple ESM versions,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, well-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 repository with revised structure </a:t>
            </a:r>
            <a:r>
              <a:rPr lang="en-GB" sz="2200" dirty="0">
                <a:hlinkClick r:id="rId3"/>
              </a:rPr>
              <a:t>https://github.com/NorESMhub/NorCPM</a:t>
            </a:r>
            <a:r>
              <a:rPr lang="en-GB" sz="2200" dirty="0"/>
              <a:t> </a:t>
            </a:r>
            <a:r>
              <a:rPr lang="en-NO" sz="2200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741954" y="4265976"/>
            <a:ext cx="87716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014005" y="4886766"/>
            <a:ext cx="318460" cy="771407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561C1F1-E48F-CF1A-5815-263414B75DD4}"/>
              </a:ext>
            </a:extLst>
          </p:cNvPr>
          <p:cNvSpPr txBox="1"/>
          <p:nvPr/>
        </p:nvSpPr>
        <p:spPr>
          <a:xfrm>
            <a:off x="626659" y="2521019"/>
            <a:ext cx="5181600" cy="38606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Workflow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F048D0-418F-672F-E9CE-E7D61E404982}"/>
              </a:ext>
            </a:extLst>
          </p:cNvPr>
          <p:cNvSpPr txBox="1"/>
          <p:nvPr/>
        </p:nvSpPr>
        <p:spPr>
          <a:xfrm>
            <a:off x="2257616" y="3176834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run_ensemble.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3DE0D2-D946-4830-84AB-EB779A32D608}"/>
              </a:ext>
            </a:extLst>
          </p:cNvPr>
          <p:cNvSpPr txBox="1"/>
          <p:nvPr/>
        </p:nvSpPr>
        <p:spPr>
          <a:xfrm>
            <a:off x="626659" y="1246228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5B963A-F567-B230-0FCE-01A54FCABC0A}"/>
              </a:ext>
            </a:extLst>
          </p:cNvPr>
          <p:cNvSpPr txBox="1"/>
          <p:nvPr/>
        </p:nvSpPr>
        <p:spPr>
          <a:xfrm>
            <a:off x="1320920" y="1597910"/>
            <a:ext cx="3788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</a:t>
            </a:r>
            <a:r>
              <a:rPr lang="en-NO" dirty="0"/>
              <a:t>ubmit_ensemble.sh &lt;settings file&gt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9D2482-3D3B-B927-2BB2-C870C1F8FE6D}"/>
              </a:ext>
            </a:extLst>
          </p:cNvPr>
          <p:cNvSpPr txBox="1"/>
          <p:nvPr/>
        </p:nvSpPr>
        <p:spPr>
          <a:xfrm>
            <a:off x="1113713" y="4279387"/>
            <a:ext cx="19415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dirty="0"/>
              <a:t>NorESM</a:t>
            </a:r>
          </a:p>
          <a:p>
            <a:r>
              <a:rPr lang="en-NO" dirty="0"/>
              <a:t>- pause&amp;resum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81BB90-D83D-5146-D0D7-81942D35211D}"/>
              </a:ext>
            </a:extLst>
          </p:cNvPr>
          <p:cNvSpPr txBox="1"/>
          <p:nvPr/>
        </p:nvSpPr>
        <p:spPr>
          <a:xfrm>
            <a:off x="3555407" y="4251109"/>
            <a:ext cx="16594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  <a:r>
              <a:rPr lang="en-NO" dirty="0"/>
              <a:t>ssim_step.sh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preproc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err="1"/>
              <a:t>EnKF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micom_init</a:t>
            </a:r>
            <a:endParaRPr lang="en-GB" strike="sngStrike" dirty="0"/>
          </a:p>
          <a:p>
            <a:pPr marL="285750" indent="-285750">
              <a:buFontTx/>
              <a:buChar char="-"/>
            </a:pPr>
            <a:r>
              <a:rPr lang="en-GB" strike="sngStrike" dirty="0" err="1"/>
              <a:t>fix_enkf</a:t>
            </a:r>
            <a:endParaRPr lang="en-NO" strike="sngStrike" dirty="0"/>
          </a:p>
          <a:p>
            <a:endParaRPr lang="en-NO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9AB625B-E874-69D6-4DA9-F3500D3D6AAE}"/>
              </a:ext>
            </a:extLst>
          </p:cNvPr>
          <p:cNvCxnSpPr>
            <a:cxnSpLocks/>
          </p:cNvCxnSpPr>
          <p:nvPr/>
        </p:nvCxnSpPr>
        <p:spPr>
          <a:xfrm>
            <a:off x="3234806" y="1967242"/>
            <a:ext cx="0" cy="12095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7C9B004-2592-3051-6AC8-C352ED7AB1A8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084492" y="3546166"/>
            <a:ext cx="1150315" cy="733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5623E52-1550-86C6-0FCA-5C0F00EC2AA4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3234807" y="3546166"/>
            <a:ext cx="1150315" cy="704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8CB6615-147D-23FB-3CF6-75925214E9BE}"/>
              </a:ext>
            </a:extLst>
          </p:cNvPr>
          <p:cNvSpPr txBox="1"/>
          <p:nvPr/>
        </p:nvSpPr>
        <p:spPr>
          <a:xfrm>
            <a:off x="4102222" y="5816212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CD26CE-29B8-2047-5A03-B74D2E47B488}"/>
              </a:ext>
            </a:extLst>
          </p:cNvPr>
          <p:cNvSpPr txBox="1"/>
          <p:nvPr/>
        </p:nvSpPr>
        <p:spPr>
          <a:xfrm>
            <a:off x="4560723" y="1972156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259E4E-B1A1-9931-E180-0C4EEBC7CEB4}"/>
              </a:ext>
            </a:extLst>
          </p:cNvPr>
          <p:cNvSpPr txBox="1"/>
          <p:nvPr/>
        </p:nvSpPr>
        <p:spPr>
          <a:xfrm>
            <a:off x="6114628" y="2522591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3B0C1C-74AD-F8C7-A7DA-EFA183DFC1DD}"/>
              </a:ext>
            </a:extLst>
          </p:cNvPr>
          <p:cNvSpPr txBox="1"/>
          <p:nvPr/>
        </p:nvSpPr>
        <p:spPr>
          <a:xfrm>
            <a:off x="7722145" y="2794879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</a:t>
            </a:r>
            <a:r>
              <a:rPr lang="en-NO" dirty="0"/>
              <a:t>ase.st_archive.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8FAC02-1C17-B10A-AC9C-07326E11BEE5}"/>
              </a:ext>
            </a:extLst>
          </p:cNvPr>
          <p:cNvSpPr txBox="1"/>
          <p:nvPr/>
        </p:nvSpPr>
        <p:spPr>
          <a:xfrm>
            <a:off x="6114628" y="1247799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E6E29A-0CEA-3D50-27CE-EB5C998F9BF3}"/>
              </a:ext>
            </a:extLst>
          </p:cNvPr>
          <p:cNvSpPr txBox="1"/>
          <p:nvPr/>
        </p:nvSpPr>
        <p:spPr>
          <a:xfrm>
            <a:off x="6808889" y="1599481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chive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9066B25-3211-F5D7-514E-DB630F326FF3}"/>
              </a:ext>
            </a:extLst>
          </p:cNvPr>
          <p:cNvCxnSpPr>
            <a:cxnSpLocks/>
          </p:cNvCxnSpPr>
          <p:nvPr/>
        </p:nvCxnSpPr>
        <p:spPr>
          <a:xfrm>
            <a:off x="8722775" y="1968813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C74BF2C-6945-6CFB-CC6A-44D3BBCB02C0}"/>
              </a:ext>
            </a:extLst>
          </p:cNvPr>
          <p:cNvSpPr txBox="1"/>
          <p:nvPr/>
        </p:nvSpPr>
        <p:spPr>
          <a:xfrm>
            <a:off x="9566260" y="2865706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D691BE-14F9-467E-4144-4DC7BA260EC2}"/>
              </a:ext>
            </a:extLst>
          </p:cNvPr>
          <p:cNvSpPr txBox="1"/>
          <p:nvPr/>
        </p:nvSpPr>
        <p:spPr>
          <a:xfrm>
            <a:off x="6144482" y="5474755"/>
            <a:ext cx="5181593" cy="913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EC41F6-5D02-20FE-0087-8454068098E7}"/>
              </a:ext>
            </a:extLst>
          </p:cNvPr>
          <p:cNvSpPr txBox="1"/>
          <p:nvPr/>
        </p:nvSpPr>
        <p:spPr>
          <a:xfrm>
            <a:off x="7865122" y="5747043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resm2nc4mpi</a:t>
            </a:r>
            <a:endParaRPr lang="en-NO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DB34CF4-C0D3-FC4C-1188-626E892B4F03}"/>
              </a:ext>
            </a:extLst>
          </p:cNvPr>
          <p:cNvSpPr txBox="1"/>
          <p:nvPr/>
        </p:nvSpPr>
        <p:spPr>
          <a:xfrm>
            <a:off x="6144482" y="4199963"/>
            <a:ext cx="5181600" cy="1107982"/>
          </a:xfrm>
          <a:prstGeom prst="rect">
            <a:avLst/>
          </a:prstGeom>
          <a:solidFill>
            <a:srgbClr val="FEFADE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3314A4-6301-C0E7-7727-3A190A98F777}"/>
              </a:ext>
            </a:extLst>
          </p:cNvPr>
          <p:cNvSpPr txBox="1"/>
          <p:nvPr/>
        </p:nvSpPr>
        <p:spPr>
          <a:xfrm>
            <a:off x="6838743" y="4551645"/>
            <a:ext cx="4108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ress</a:t>
            </a:r>
            <a:r>
              <a:rPr lang="en-NO" dirty="0"/>
              <a:t>_ensemble.sh &lt;settings file&gt;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CDA44A8-4C99-2191-EAC7-04EACD56150C}"/>
              </a:ext>
            </a:extLst>
          </p:cNvPr>
          <p:cNvCxnSpPr>
            <a:cxnSpLocks/>
          </p:cNvCxnSpPr>
          <p:nvPr/>
        </p:nvCxnSpPr>
        <p:spPr>
          <a:xfrm>
            <a:off x="8752629" y="4920977"/>
            <a:ext cx="0" cy="774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165B7E7F-4F1B-0019-E996-F33F489C82EF}"/>
              </a:ext>
            </a:extLst>
          </p:cNvPr>
          <p:cNvSpPr txBox="1"/>
          <p:nvPr/>
        </p:nvSpPr>
        <p:spPr>
          <a:xfrm>
            <a:off x="9596114" y="5817870"/>
            <a:ext cx="1729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atch system (compute nodes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123A7B3-76EA-1375-E004-7E9EC8952CC7}"/>
              </a:ext>
            </a:extLst>
          </p:cNvPr>
          <p:cNvSpPr txBox="1"/>
          <p:nvPr/>
        </p:nvSpPr>
        <p:spPr>
          <a:xfrm>
            <a:off x="10079218" y="2002141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F8E5CB-2916-B397-AE11-C00DD5745016}"/>
              </a:ext>
            </a:extLst>
          </p:cNvPr>
          <p:cNvSpPr txBox="1"/>
          <p:nvPr/>
        </p:nvSpPr>
        <p:spPr>
          <a:xfrm>
            <a:off x="10079218" y="4956109"/>
            <a:ext cx="12822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600" dirty="0">
                <a:solidFill>
                  <a:schemeClr val="bg1">
                    <a:lumMod val="50000"/>
                  </a:schemeClr>
                </a:solidFill>
              </a:rPr>
              <a:t>Login nod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6EEBC-4389-2A91-D9CD-2ACB7276C3F2}"/>
              </a:ext>
            </a:extLst>
          </p:cNvPr>
          <p:cNvSpPr txBox="1"/>
          <p:nvPr/>
        </p:nvSpPr>
        <p:spPr>
          <a:xfrm flipH="1">
            <a:off x="643008" y="12754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05000D0-BE74-07D5-1588-8D6D61A13692}"/>
              </a:ext>
            </a:extLst>
          </p:cNvPr>
          <p:cNvSpPr txBox="1"/>
          <p:nvPr/>
        </p:nvSpPr>
        <p:spPr>
          <a:xfrm flipH="1">
            <a:off x="6136179" y="1246228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9A461E0-E895-8353-3734-CF4F3C5584BD}"/>
              </a:ext>
            </a:extLst>
          </p:cNvPr>
          <p:cNvSpPr txBox="1"/>
          <p:nvPr/>
        </p:nvSpPr>
        <p:spPr>
          <a:xfrm flipH="1">
            <a:off x="6153733" y="4215049"/>
            <a:ext cx="252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dirty="0"/>
              <a:t>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6FE19B-1D48-0441-BB38-BA78BF11B6BB}"/>
              </a:ext>
            </a:extLst>
          </p:cNvPr>
          <p:cNvSpPr txBox="1"/>
          <p:nvPr/>
        </p:nvSpPr>
        <p:spPr>
          <a:xfrm rot="19561569">
            <a:off x="1979312" y="367769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0-40 nod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9577B5-60BF-15BC-DB28-F6FF57DB98E7}"/>
              </a:ext>
            </a:extLst>
          </p:cNvPr>
          <p:cNvSpPr txBox="1"/>
          <p:nvPr/>
        </p:nvSpPr>
        <p:spPr>
          <a:xfrm rot="2087687">
            <a:off x="3520953" y="3654770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nod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4D2D38E-C891-2087-B9A8-330EACEC9C30}"/>
              </a:ext>
            </a:extLst>
          </p:cNvPr>
          <p:cNvSpPr txBox="1"/>
          <p:nvPr/>
        </p:nvSpPr>
        <p:spPr>
          <a:xfrm>
            <a:off x="8784224" y="2507263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1 tas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1EC5-6838-4052-47D8-E5EF9DF60E5E}"/>
              </a:ext>
            </a:extLst>
          </p:cNvPr>
          <p:cNvSpPr txBox="1"/>
          <p:nvPr/>
        </p:nvSpPr>
        <p:spPr>
          <a:xfrm>
            <a:off x="8769867" y="5474445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400" dirty="0">
                <a:solidFill>
                  <a:schemeClr val="bg1">
                    <a:lumMod val="50000"/>
                  </a:schemeClr>
                </a:solidFill>
              </a:rPr>
              <a:t>4 nodes</a:t>
            </a:r>
          </a:p>
        </p:txBody>
      </p:sp>
    </p:spTree>
    <p:extLst>
      <p:ext uri="{BB962C8B-B14F-4D97-AF65-F5344CB8AC3E}">
        <p14:creationId xmlns:p14="http://schemas.microsoft.com/office/powerpoint/2010/main" val="3573790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1338</TotalTime>
  <Words>2111</Words>
  <Application>Microsoft Macintosh PowerPoint</Application>
  <PresentationFormat>Widescreen</PresentationFormat>
  <Paragraphs>388</Paragraphs>
  <Slides>26</Slides>
  <Notes>26</Notes>
  <HiddenSlides>0</HiddenSlides>
  <MMClips>3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mbria Math</vt:lpstr>
      <vt:lpstr>Menlo</vt:lpstr>
      <vt:lpstr>blank</vt:lpstr>
      <vt:lpstr>think-cell Slide</vt:lpstr>
      <vt:lpstr>A guide to high-frequent data assimilation with NorESM2</vt:lpstr>
      <vt:lpstr>DA implementations for NorCPM</vt:lpstr>
      <vt:lpstr>Daily ocean data assimilation with NorESM2 (preliminary results)    </vt:lpstr>
      <vt:lpstr>Assimilation of daily SST and monthly T/S observations – obs vs free run</vt:lpstr>
      <vt:lpstr>Assimilation of daily SST and monthly T/S observations – obs vs monthly assimilation </vt:lpstr>
      <vt:lpstr>Assimilation of daily SST and monthly T/S observations – obs vs daily assimilation</vt:lpstr>
      <vt:lpstr>Assimilation of daily SST and monthly T/S observations – global statistics (spatial averages)</vt:lpstr>
      <vt:lpstr>NorCPM repository with revised structure https://github.com/NorESMhub/NorCPM  </vt:lpstr>
      <vt:lpstr>Workflow</vt:lpstr>
      <vt:lpstr>Mini-tutorial for performing a daily assimilation experiment using NorESM2-LM</vt:lpstr>
      <vt:lpstr>Customizing NorESM2 (cpu settings, source code, diagnostic output)</vt:lpstr>
      <vt:lpstr>Settings file – experiment and job settings </vt:lpstr>
      <vt:lpstr>Settings file – initialisation option 1: guessed reference case names</vt:lpstr>
      <vt:lpstr>Settings file – initialisation option 2: explicitely specified reference case names</vt:lpstr>
      <vt:lpstr>Settings file – initialisation option 3: single reference case, multiple reference dates</vt:lpstr>
      <vt:lpstr>Settings file – assimilation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Current statu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7</cp:revision>
  <dcterms:created xsi:type="dcterms:W3CDTF">2019-06-05T13:39:33Z</dcterms:created>
  <dcterms:modified xsi:type="dcterms:W3CDTF">2024-09-20T09:11:10Z</dcterms:modified>
  <cp:category/>
</cp:coreProperties>
</file>